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9"/>
    <p:sldMasterId id="2147483754" r:id="rId20"/>
  </p:sldMasterIdLst>
  <p:notesMasterIdLst>
    <p:notesMasterId r:id="rId29"/>
  </p:notesMasterIdLst>
  <p:handoutMasterIdLst>
    <p:handoutMasterId r:id="rId30"/>
  </p:handoutMasterIdLst>
  <p:sldIdLst>
    <p:sldId id="3209" r:id="rId21"/>
    <p:sldId id="3210" r:id="rId22"/>
    <p:sldId id="3212" r:id="rId23"/>
    <p:sldId id="3213" r:id="rId24"/>
    <p:sldId id="3211" r:id="rId25"/>
    <p:sldId id="3214" r:id="rId26"/>
    <p:sldId id="3215" r:id="rId27"/>
    <p:sldId id="3216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  <p:cmAuthor id="2" name="Quiros Araya, Gustavo (T RDA FOA AES-US)" initials="QAG(RFA" lastIdx="20" clrIdx="1">
    <p:extLst>
      <p:ext uri="{19B8F6BF-5375-455C-9EA6-DF929625EA0E}">
        <p15:presenceInfo xmlns:p15="http://schemas.microsoft.com/office/powerpoint/2012/main" userId="S::gustavo.quiros@siemens.com::87a2443b-d0c9-4518-9ebc-d799baa37986" providerId="AD"/>
      </p:ext>
    </p:extLst>
  </p:cmAuthor>
  <p:cmAuthor id="3" name="Friedrich, Hermann (CT RDA FOA)" initials="HF" lastIdx="16" clrIdx="2">
    <p:extLst>
      <p:ext uri="{19B8F6BF-5375-455C-9EA6-DF929625EA0E}">
        <p15:presenceInfo xmlns:p15="http://schemas.microsoft.com/office/powerpoint/2012/main" userId="Friedrich, Hermann (CT RDA FOA)" providerId="None"/>
      </p:ext>
    </p:extLst>
  </p:cmAuthor>
  <p:cmAuthor id="4" name="Bardak, Kaan (T RDA FOA AES-US)" initials="BA" lastIdx="4" clrIdx="3">
    <p:extLst>
      <p:ext uri="{19B8F6BF-5375-455C-9EA6-DF929625EA0E}">
        <p15:presenceInfo xmlns:p15="http://schemas.microsoft.com/office/powerpoint/2012/main" userId="S::kaan.bardak@siemens.com::5e270477-9313-4f8b-8188-f040c2ea5439" providerId="AD"/>
      </p:ext>
    </p:extLst>
  </p:cmAuthor>
  <p:cmAuthor id="5" name="Mishra, Anant Kumar (T RDA FOA PAE-US)" initials="MAK(RFPU" lastIdx="12" clrIdx="4">
    <p:extLst>
      <p:ext uri="{19B8F6BF-5375-455C-9EA6-DF929625EA0E}">
        <p15:presenceInfo xmlns:p15="http://schemas.microsoft.com/office/powerpoint/2012/main" userId="S::anant.mishra@siemens.com::d6d92bde-41c5-4ff2-860b-3937158d805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F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2CE785-BE8F-4039-A092-EE680265AEFD}" v="122" dt="2021-08-13T05:12:27.561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874" y="6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shra, Anant Kumar (T RDA FOA PAE-US)" userId="d6d92bde-41c5-4ff2-860b-3937158d805f" providerId="ADAL" clId="{FC080B69-3995-4473-A42B-0C2831401FD5}"/>
    <pc:docChg chg="undo custSel addSld delSld modSld modMainMaster">
      <pc:chgData name="Mishra, Anant Kumar (T RDA FOA PAE-US)" userId="d6d92bde-41c5-4ff2-860b-3937158d805f" providerId="ADAL" clId="{FC080B69-3995-4473-A42B-0C2831401FD5}" dt="2021-05-24T16:44:16.126" v="325" actId="948"/>
      <pc:docMkLst>
        <pc:docMk/>
      </pc:docMkLst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0" sldId="257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1089399300" sldId="262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1036498170" sldId="263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2524126544" sldId="276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3069851502" sldId="1855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4124649313" sldId="1856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1105814489" sldId="1858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1662054570" sldId="1861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2798269884" sldId="1862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1944250552" sldId="1863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2981112362" sldId="1864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2819986988" sldId="1866"/>
        </pc:sldMkLst>
      </pc:sldChg>
      <pc:sldChg chg="del">
        <pc:chgData name="Mishra, Anant Kumar (T RDA FOA PAE-US)" userId="d6d92bde-41c5-4ff2-860b-3937158d805f" providerId="ADAL" clId="{FC080B69-3995-4473-A42B-0C2831401FD5}" dt="2021-04-29T02:28:37.272" v="3" actId="47"/>
        <pc:sldMkLst>
          <pc:docMk/>
          <pc:sldMk cId="1732786958" sldId="1869"/>
        </pc:sldMkLst>
      </pc:sldChg>
      <pc:sldChg chg="modSp mod">
        <pc:chgData name="Mishra, Anant Kumar (T RDA FOA PAE-US)" userId="d6d92bde-41c5-4ff2-860b-3937158d805f" providerId="ADAL" clId="{FC080B69-3995-4473-A42B-0C2831401FD5}" dt="2021-05-24T16:44:16.126" v="325" actId="948"/>
        <pc:sldMkLst>
          <pc:docMk/>
          <pc:sldMk cId="3882935950" sldId="3202"/>
        </pc:sldMkLst>
        <pc:spChg chg="mod">
          <ac:chgData name="Mishra, Anant Kumar (T RDA FOA PAE-US)" userId="d6d92bde-41c5-4ff2-860b-3937158d805f" providerId="ADAL" clId="{FC080B69-3995-4473-A42B-0C2831401FD5}" dt="2021-05-24T16:44:16.126" v="325" actId="948"/>
          <ac:spMkLst>
            <pc:docMk/>
            <pc:sldMk cId="3882935950" sldId="3202"/>
            <ac:spMk id="2" creationId="{29B60A4B-BA04-48FF-97A3-73B90B860E9F}"/>
          </ac:spMkLst>
        </pc:spChg>
      </pc:sldChg>
      <pc:sldChg chg="modSp mod">
        <pc:chgData name="Mishra, Anant Kumar (T RDA FOA PAE-US)" userId="d6d92bde-41c5-4ff2-860b-3937158d805f" providerId="ADAL" clId="{FC080B69-3995-4473-A42B-0C2831401FD5}" dt="2021-04-29T02:29:32.755" v="80" actId="20577"/>
        <pc:sldMkLst>
          <pc:docMk/>
          <pc:sldMk cId="1894407668" sldId="3209"/>
        </pc:sldMkLst>
        <pc:spChg chg="mod">
          <ac:chgData name="Mishra, Anant Kumar (T RDA FOA PAE-US)" userId="d6d92bde-41c5-4ff2-860b-3937158d805f" providerId="ADAL" clId="{FC080B69-3995-4473-A42B-0C2831401FD5}" dt="2021-04-29T02:29:32.755" v="80" actId="20577"/>
          <ac:spMkLst>
            <pc:docMk/>
            <pc:sldMk cId="1894407668" sldId="3209"/>
            <ac:spMk id="4" creationId="{A5D4B1CA-70E5-41E6-AFDB-B8544B741434}"/>
          </ac:spMkLst>
        </pc:spChg>
      </pc:sldChg>
      <pc:sldChg chg="modSp mod">
        <pc:chgData name="Mishra, Anant Kumar (T RDA FOA PAE-US)" userId="d6d92bde-41c5-4ff2-860b-3937158d805f" providerId="ADAL" clId="{FC080B69-3995-4473-A42B-0C2831401FD5}" dt="2021-04-29T02:33:30.085" v="293" actId="20577"/>
        <pc:sldMkLst>
          <pc:docMk/>
          <pc:sldMk cId="4279896161" sldId="3213"/>
        </pc:sldMkLst>
        <pc:spChg chg="mod">
          <ac:chgData name="Mishra, Anant Kumar (T RDA FOA PAE-US)" userId="d6d92bde-41c5-4ff2-860b-3937158d805f" providerId="ADAL" clId="{FC080B69-3995-4473-A42B-0C2831401FD5}" dt="2021-04-29T02:33:30.085" v="293" actId="20577"/>
          <ac:spMkLst>
            <pc:docMk/>
            <pc:sldMk cId="4279896161" sldId="3213"/>
            <ac:spMk id="4" creationId="{B2DCBCE3-0DDA-41E9-9997-E97AF3BBB58E}"/>
          </ac:spMkLst>
        </pc:spChg>
      </pc:sldChg>
      <pc:sldChg chg="addSp delSp modSp mod">
        <pc:chgData name="Mishra, Anant Kumar (T RDA FOA PAE-US)" userId="d6d92bde-41c5-4ff2-860b-3937158d805f" providerId="ADAL" clId="{FC080B69-3995-4473-A42B-0C2831401FD5}" dt="2021-04-29T02:33:41.787" v="295"/>
        <pc:sldMkLst>
          <pc:docMk/>
          <pc:sldMk cId="313039052" sldId="3214"/>
        </pc:sldMkLst>
        <pc:spChg chg="del">
          <ac:chgData name="Mishra, Anant Kumar (T RDA FOA PAE-US)" userId="d6d92bde-41c5-4ff2-860b-3937158d805f" providerId="ADAL" clId="{FC080B69-3995-4473-A42B-0C2831401FD5}" dt="2021-04-29T02:33:40.333" v="294" actId="478"/>
          <ac:spMkLst>
            <pc:docMk/>
            <pc:sldMk cId="313039052" sldId="3214"/>
            <ac:spMk id="4" creationId="{5F334181-A537-4006-97AF-1AE2CDDB58A5}"/>
          </ac:spMkLst>
        </pc:spChg>
        <pc:spChg chg="add mod">
          <ac:chgData name="Mishra, Anant Kumar (T RDA FOA PAE-US)" userId="d6d92bde-41c5-4ff2-860b-3937158d805f" providerId="ADAL" clId="{FC080B69-3995-4473-A42B-0C2831401FD5}" dt="2021-04-29T02:33:41.787" v="295"/>
          <ac:spMkLst>
            <pc:docMk/>
            <pc:sldMk cId="313039052" sldId="3214"/>
            <ac:spMk id="29" creationId="{B70744ED-321F-457C-9470-4E0D8E18A0EE}"/>
          </ac:spMkLst>
        </pc:spChg>
      </pc:sldChg>
      <pc:sldChg chg="addSp delSp modSp mod">
        <pc:chgData name="Mishra, Anant Kumar (T RDA FOA PAE-US)" userId="d6d92bde-41c5-4ff2-860b-3937158d805f" providerId="ADAL" clId="{FC080B69-3995-4473-A42B-0C2831401FD5}" dt="2021-04-29T02:33:47.048" v="297"/>
        <pc:sldMkLst>
          <pc:docMk/>
          <pc:sldMk cId="4201953570" sldId="3215"/>
        </pc:sldMkLst>
        <pc:spChg chg="del">
          <ac:chgData name="Mishra, Anant Kumar (T RDA FOA PAE-US)" userId="d6d92bde-41c5-4ff2-860b-3937158d805f" providerId="ADAL" clId="{FC080B69-3995-4473-A42B-0C2831401FD5}" dt="2021-04-29T02:33:46.004" v="296" actId="478"/>
          <ac:spMkLst>
            <pc:docMk/>
            <pc:sldMk cId="4201953570" sldId="3215"/>
            <ac:spMk id="4" creationId="{335898F4-6AD0-4293-B115-9A8DE0D1ABBD}"/>
          </ac:spMkLst>
        </pc:spChg>
        <pc:spChg chg="add mod">
          <ac:chgData name="Mishra, Anant Kumar (T RDA FOA PAE-US)" userId="d6d92bde-41c5-4ff2-860b-3937158d805f" providerId="ADAL" clId="{FC080B69-3995-4473-A42B-0C2831401FD5}" dt="2021-04-29T02:33:47.048" v="297"/>
          <ac:spMkLst>
            <pc:docMk/>
            <pc:sldMk cId="4201953570" sldId="3215"/>
            <ac:spMk id="7" creationId="{6093D95C-7EA3-41DC-A820-DCB28A5C0AFC}"/>
          </ac:spMkLst>
        </pc:spChg>
      </pc:sldChg>
      <pc:sldChg chg="addSp delSp modSp mod">
        <pc:chgData name="Mishra, Anant Kumar (T RDA FOA PAE-US)" userId="d6d92bde-41c5-4ff2-860b-3937158d805f" providerId="ADAL" clId="{FC080B69-3995-4473-A42B-0C2831401FD5}" dt="2021-04-29T02:33:51.477" v="299"/>
        <pc:sldMkLst>
          <pc:docMk/>
          <pc:sldMk cId="1387550153" sldId="3216"/>
        </pc:sldMkLst>
        <pc:spChg chg="del">
          <ac:chgData name="Mishra, Anant Kumar (T RDA FOA PAE-US)" userId="d6d92bde-41c5-4ff2-860b-3937158d805f" providerId="ADAL" clId="{FC080B69-3995-4473-A42B-0C2831401FD5}" dt="2021-04-29T02:33:50.456" v="298" actId="478"/>
          <ac:spMkLst>
            <pc:docMk/>
            <pc:sldMk cId="1387550153" sldId="3216"/>
            <ac:spMk id="4" creationId="{D179B045-6480-42D1-A423-F52C90E51AFD}"/>
          </ac:spMkLst>
        </pc:spChg>
        <pc:spChg chg="add mod">
          <ac:chgData name="Mishra, Anant Kumar (T RDA FOA PAE-US)" userId="d6d92bde-41c5-4ff2-860b-3937158d805f" providerId="ADAL" clId="{FC080B69-3995-4473-A42B-0C2831401FD5}" dt="2021-04-29T02:33:51.477" v="299"/>
          <ac:spMkLst>
            <pc:docMk/>
            <pc:sldMk cId="1387550153" sldId="3216"/>
            <ac:spMk id="7" creationId="{DD2D95B3-235A-481C-B371-8D51095B0D48}"/>
          </ac:spMkLst>
        </pc:spChg>
      </pc:sldChg>
      <pc:sldChg chg="new del">
        <pc:chgData name="Mishra, Anant Kumar (T RDA FOA PAE-US)" userId="d6d92bde-41c5-4ff2-860b-3937158d805f" providerId="ADAL" clId="{FC080B69-3995-4473-A42B-0C2831401FD5}" dt="2021-04-29T02:28:38.252" v="4" actId="47"/>
        <pc:sldMkLst>
          <pc:docMk/>
          <pc:sldMk cId="1321250199" sldId="3217"/>
        </pc:sldMkLst>
      </pc:sldChg>
      <pc:sldChg chg="del">
        <pc:chgData name="Mishra, Anant Kumar (T RDA FOA PAE-US)" userId="d6d92bde-41c5-4ff2-860b-3937158d805f" providerId="ADAL" clId="{FC080B69-3995-4473-A42B-0C2831401FD5}" dt="2021-04-29T02:26:43.954" v="0" actId="47"/>
        <pc:sldMkLst>
          <pc:docMk/>
          <pc:sldMk cId="2899417767" sldId="3217"/>
        </pc:sldMkLst>
      </pc:sldChg>
      <pc:sldChg chg="delSp modSp new mod">
        <pc:chgData name="Mishra, Anant Kumar (T RDA FOA PAE-US)" userId="d6d92bde-41c5-4ff2-860b-3937158d805f" providerId="ADAL" clId="{FC080B69-3995-4473-A42B-0C2831401FD5}" dt="2021-04-29T02:33:57.220" v="300" actId="478"/>
        <pc:sldMkLst>
          <pc:docMk/>
          <pc:sldMk cId="516534244" sldId="3218"/>
        </pc:sldMkLst>
        <pc:spChg chg="mod">
          <ac:chgData name="Mishra, Anant Kumar (T RDA FOA PAE-US)" userId="d6d92bde-41c5-4ff2-860b-3937158d805f" providerId="ADAL" clId="{FC080B69-3995-4473-A42B-0C2831401FD5}" dt="2021-04-29T02:29:11.031" v="58" actId="20577"/>
          <ac:spMkLst>
            <pc:docMk/>
            <pc:sldMk cId="516534244" sldId="3218"/>
            <ac:spMk id="3" creationId="{7115BA07-3F9B-4DD1-9A11-26FED0F96582}"/>
          </ac:spMkLst>
        </pc:spChg>
        <pc:spChg chg="del">
          <ac:chgData name="Mishra, Anant Kumar (T RDA FOA PAE-US)" userId="d6d92bde-41c5-4ff2-860b-3937158d805f" providerId="ADAL" clId="{FC080B69-3995-4473-A42B-0C2831401FD5}" dt="2021-04-29T02:33:57.220" v="300" actId="478"/>
          <ac:spMkLst>
            <pc:docMk/>
            <pc:sldMk cId="516534244" sldId="3218"/>
            <ac:spMk id="4" creationId="{A7009D20-0AC6-45FB-8628-E866586AF119}"/>
          </ac:spMkLst>
        </pc:spChg>
      </pc:sldChg>
      <pc:sldChg chg="addCm modCm">
        <pc:chgData name="Mishra, Anant Kumar (T RDA FOA PAE-US)" userId="d6d92bde-41c5-4ff2-860b-3937158d805f" providerId="ADAL" clId="{FC080B69-3995-4473-A42B-0C2831401FD5}" dt="2021-05-05T03:41:39.885" v="317"/>
        <pc:sldMkLst>
          <pc:docMk/>
          <pc:sldMk cId="3968327367" sldId="3222"/>
        </pc:sldMkLst>
      </pc:sldChg>
      <pc:sldMasterChg chg="modSp mod delSldLayout modSldLayout">
        <pc:chgData name="Mishra, Anant Kumar (T RDA FOA PAE-US)" userId="d6d92bde-41c5-4ff2-860b-3937158d805f" providerId="ADAL" clId="{FC080B69-3995-4473-A42B-0C2831401FD5}" dt="2021-04-29T02:32:28.948" v="210" actId="20577"/>
        <pc:sldMasterMkLst>
          <pc:docMk/>
          <pc:sldMasterMk cId="1698585145" sldId="2147483648"/>
        </pc:sldMasterMkLst>
        <pc:spChg chg="mod">
          <ac:chgData name="Mishra, Anant Kumar (T RDA FOA PAE-US)" userId="d6d92bde-41c5-4ff2-860b-3937158d805f" providerId="ADAL" clId="{FC080B69-3995-4473-A42B-0C2831401FD5}" dt="2021-04-29T02:30:13.978" v="112" actId="20577"/>
          <ac:spMkLst>
            <pc:docMk/>
            <pc:sldMasterMk cId="1698585145" sldId="2147483648"/>
            <ac:spMk id="5" creationId="{4F5CAFE5-0972-49AB-B42B-7C613C153AFE}"/>
          </ac:spMkLst>
        </pc:spChg>
        <pc:sldLayoutChg chg="modSp mod">
          <pc:chgData name="Mishra, Anant Kumar (T RDA FOA PAE-US)" userId="d6d92bde-41c5-4ff2-860b-3937158d805f" providerId="ADAL" clId="{FC080B69-3995-4473-A42B-0C2831401FD5}" dt="2021-04-29T02:32:28.948" v="210" actId="20577"/>
          <pc:sldLayoutMkLst>
            <pc:docMk/>
            <pc:sldMasterMk cId="1698585145" sldId="2147483648"/>
            <pc:sldLayoutMk cId="1842942607" sldId="2147483650"/>
          </pc:sldLayoutMkLst>
          <pc:spChg chg="mod">
            <ac:chgData name="Mishra, Anant Kumar (T RDA FOA PAE-US)" userId="d6d92bde-41c5-4ff2-860b-3937158d805f" providerId="ADAL" clId="{FC080B69-3995-4473-A42B-0C2831401FD5}" dt="2021-04-29T02:32:28.948" v="210" actId="20577"/>
            <ac:spMkLst>
              <pc:docMk/>
              <pc:sldMasterMk cId="1698585145" sldId="2147483648"/>
              <pc:sldLayoutMk cId="1842942607" sldId="2147483650"/>
              <ac:spMk id="5" creationId="{E519D384-FA09-4D60-95A8-589F157A93F4}"/>
            </ac:spMkLst>
          </pc:spChg>
        </pc:sldLayoutChg>
        <pc:sldLayoutChg chg="del">
          <pc:chgData name="Mishra, Anant Kumar (T RDA FOA PAE-US)" userId="d6d92bde-41c5-4ff2-860b-3937158d805f" providerId="ADAL" clId="{FC080B69-3995-4473-A42B-0C2831401FD5}" dt="2021-04-29T02:26:43.954" v="0" actId="47"/>
          <pc:sldLayoutMkLst>
            <pc:docMk/>
            <pc:sldMasterMk cId="1698585145" sldId="2147483648"/>
            <pc:sldLayoutMk cId="2002795492" sldId="2147483785"/>
          </pc:sldLayoutMkLst>
        </pc:sldLayoutChg>
        <pc:sldLayoutChg chg="del">
          <pc:chgData name="Mishra, Anant Kumar (T RDA FOA PAE-US)" userId="d6d92bde-41c5-4ff2-860b-3937158d805f" providerId="ADAL" clId="{FC080B69-3995-4473-A42B-0C2831401FD5}" dt="2021-04-29T02:28:38.252" v="4" actId="47"/>
          <pc:sldLayoutMkLst>
            <pc:docMk/>
            <pc:sldMasterMk cId="1698585145" sldId="2147483648"/>
            <pc:sldLayoutMk cId="2703284331" sldId="2147483787"/>
          </pc:sldLayoutMkLst>
        </pc:sldLayoutChg>
        <pc:sldLayoutChg chg="modSp mod">
          <pc:chgData name="Mishra, Anant Kumar (T RDA FOA PAE-US)" userId="d6d92bde-41c5-4ff2-860b-3937158d805f" providerId="ADAL" clId="{FC080B69-3995-4473-A42B-0C2831401FD5}" dt="2021-04-29T02:30:49.316" v="126" actId="20577"/>
          <pc:sldLayoutMkLst>
            <pc:docMk/>
            <pc:sldMasterMk cId="1698585145" sldId="2147483648"/>
            <pc:sldLayoutMk cId="3368145877" sldId="2147483788"/>
          </pc:sldLayoutMkLst>
          <pc:spChg chg="mod">
            <ac:chgData name="Mishra, Anant Kumar (T RDA FOA PAE-US)" userId="d6d92bde-41c5-4ff2-860b-3937158d805f" providerId="ADAL" clId="{FC080B69-3995-4473-A42B-0C2831401FD5}" dt="2021-04-29T02:30:49.316" v="126" actId="20577"/>
            <ac:spMkLst>
              <pc:docMk/>
              <pc:sldMasterMk cId="1698585145" sldId="2147483648"/>
              <pc:sldLayoutMk cId="3368145877" sldId="2147483788"/>
              <ac:spMk id="8" creationId="{4A82D1FE-933F-4CF5-817D-93F13F41C929}"/>
            </ac:spMkLst>
          </pc:spChg>
        </pc:sldLayoutChg>
      </pc:sldMasterChg>
    </pc:docChg>
  </pc:docChgLst>
  <pc:docChgLst>
    <pc:chgData name="Rubner, Carolin (T RDA SSI DAB-DE)" userId="S::carolin.rubner@siemens.com::94ab6a84-e435-4771-b5f3-3551c79b78b1" providerId="AD" clId="Web-{447AF539-7D80-46FB-8AEA-F4CE6EC747BF}"/>
    <pc:docChg chg="modSld">
      <pc:chgData name="Rubner, Carolin (T RDA SSI DAB-DE)" userId="S::carolin.rubner@siemens.com::94ab6a84-e435-4771-b5f3-3551c79b78b1" providerId="AD" clId="Web-{447AF539-7D80-46FB-8AEA-F4CE6EC747BF}" dt="2021-03-22T12:57:45.297" v="1" actId="20577"/>
      <pc:docMkLst>
        <pc:docMk/>
      </pc:docMkLst>
      <pc:sldChg chg="modSp">
        <pc:chgData name="Rubner, Carolin (T RDA SSI DAB-DE)" userId="S::carolin.rubner@siemens.com::94ab6a84-e435-4771-b5f3-3551c79b78b1" providerId="AD" clId="Web-{447AF539-7D80-46FB-8AEA-F4CE6EC747BF}" dt="2021-03-22T12:57:45.297" v="1" actId="20577"/>
        <pc:sldMkLst>
          <pc:docMk/>
          <pc:sldMk cId="1142395534" sldId="3201"/>
        </pc:sldMkLst>
        <pc:spChg chg="mod">
          <ac:chgData name="Rubner, Carolin (T RDA SSI DAB-DE)" userId="S::carolin.rubner@siemens.com::94ab6a84-e435-4771-b5f3-3551c79b78b1" providerId="AD" clId="Web-{447AF539-7D80-46FB-8AEA-F4CE6EC747BF}" dt="2021-03-22T12:57:45.297" v="1" actId="20577"/>
          <ac:spMkLst>
            <pc:docMk/>
            <pc:sldMk cId="1142395534" sldId="3201"/>
            <ac:spMk id="7" creationId="{0B63833E-186E-4414-B621-9FDAF4AAD9D8}"/>
          </ac:spMkLst>
        </pc:spChg>
      </pc:sldChg>
    </pc:docChg>
  </pc:docChgLst>
  <pc:docChgLst>
    <pc:chgData name="Bardak, Kaan (T RDA FOA AES-US)" userId="S::kaan.bardak@siemens.com::5e270477-9313-4f8b-8188-f040c2ea5439" providerId="AD" clId="Web-{909D35F4-F605-44E6-8901-7359060D5AD0}"/>
    <pc:docChg chg="modSld">
      <pc:chgData name="Bardak, Kaan (T RDA FOA AES-US)" userId="S::kaan.bardak@siemens.com::5e270477-9313-4f8b-8188-f040c2ea5439" providerId="AD" clId="Web-{909D35F4-F605-44E6-8901-7359060D5AD0}" dt="2021-03-22T13:24:07.977" v="17"/>
      <pc:docMkLst>
        <pc:docMk/>
      </pc:docMkLst>
      <pc:sldChg chg="addCm">
        <pc:chgData name="Bardak, Kaan (T RDA FOA AES-US)" userId="S::kaan.bardak@siemens.com::5e270477-9313-4f8b-8188-f040c2ea5439" providerId="AD" clId="Web-{909D35F4-F605-44E6-8901-7359060D5AD0}" dt="2021-03-22T13:21:17.520" v="16"/>
        <pc:sldMkLst>
          <pc:docMk/>
          <pc:sldMk cId="3061920705" sldId="341"/>
        </pc:sldMkLst>
      </pc:sldChg>
      <pc:sldChg chg="addCm">
        <pc:chgData name="Bardak, Kaan (T RDA FOA AES-US)" userId="S::kaan.bardak@siemens.com::5e270477-9313-4f8b-8188-f040c2ea5439" providerId="AD" clId="Web-{909D35F4-F605-44E6-8901-7359060D5AD0}" dt="2021-03-22T13:24:07.977" v="17"/>
        <pc:sldMkLst>
          <pc:docMk/>
          <pc:sldMk cId="3842640154" sldId="3200"/>
        </pc:sldMkLst>
      </pc:sldChg>
      <pc:sldChg chg="modSp addCm">
        <pc:chgData name="Bardak, Kaan (T RDA FOA AES-US)" userId="S::kaan.bardak@siemens.com::5e270477-9313-4f8b-8188-f040c2ea5439" providerId="AD" clId="Web-{909D35F4-F605-44E6-8901-7359060D5AD0}" dt="2021-03-22T13:15:10.496" v="15"/>
        <pc:sldMkLst>
          <pc:docMk/>
          <pc:sldMk cId="1142395534" sldId="3201"/>
        </pc:sldMkLst>
        <pc:graphicFrameChg chg="mod modGraphic">
          <ac:chgData name="Bardak, Kaan (T RDA FOA AES-US)" userId="S::kaan.bardak@siemens.com::5e270477-9313-4f8b-8188-f040c2ea5439" providerId="AD" clId="Web-{909D35F4-F605-44E6-8901-7359060D5AD0}" dt="2021-03-22T13:14:57.871" v="14"/>
          <ac:graphicFrameMkLst>
            <pc:docMk/>
            <pc:sldMk cId="1142395534" sldId="3201"/>
            <ac:graphicFrameMk id="13" creationId="{97DF5231-9A29-4341-9A1D-241EA190901C}"/>
          </ac:graphicFrameMkLst>
        </pc:graphicFrameChg>
      </pc:sldChg>
    </pc:docChg>
  </pc:docChgLst>
  <pc:docChgLst>
    <pc:chgData name="Deshpande, Mayuri (T RDA FOA PAE-US)" userId="307bd999-17dd-4997-b1e2-139127ad27ac" providerId="ADAL" clId="{B240F498-6863-4A88-A872-4C7076330F2A}"/>
    <pc:docChg chg="modSld">
      <pc:chgData name="Deshpande, Mayuri (T RDA FOA PAE-US)" userId="307bd999-17dd-4997-b1e2-139127ad27ac" providerId="ADAL" clId="{B240F498-6863-4A88-A872-4C7076330F2A}" dt="2021-07-06T17:54:57.537" v="0" actId="1076"/>
      <pc:docMkLst>
        <pc:docMk/>
      </pc:docMkLst>
      <pc:sldChg chg="modSp mod">
        <pc:chgData name="Deshpande, Mayuri (T RDA FOA PAE-US)" userId="307bd999-17dd-4997-b1e2-139127ad27ac" providerId="ADAL" clId="{B240F498-6863-4A88-A872-4C7076330F2A}" dt="2021-07-06T17:54:57.537" v="0" actId="1076"/>
        <pc:sldMkLst>
          <pc:docMk/>
          <pc:sldMk cId="3882935950" sldId="3202"/>
        </pc:sldMkLst>
        <pc:spChg chg="mod">
          <ac:chgData name="Deshpande, Mayuri (T RDA FOA PAE-US)" userId="307bd999-17dd-4997-b1e2-139127ad27ac" providerId="ADAL" clId="{B240F498-6863-4A88-A872-4C7076330F2A}" dt="2021-07-06T17:54:57.537" v="0" actId="1076"/>
          <ac:spMkLst>
            <pc:docMk/>
            <pc:sldMk cId="3882935950" sldId="3202"/>
            <ac:spMk id="8" creationId="{23A045A0-2EB1-4C6B-AEDC-5AD7562BC2E6}"/>
          </ac:spMkLst>
        </pc:spChg>
      </pc:sldChg>
    </pc:docChg>
  </pc:docChgLst>
  <pc:docChgLst>
    <pc:chgData name="Friedrich, Hermann (T RDA FOA)" userId="a5622eb3-2c34-4ca5-a905-34ed83c191b9" providerId="ADAL" clId="{A0F4F25D-C2F0-4BB7-9DBE-195C90754AB2}"/>
    <pc:docChg chg="undo custSel modSld sldOrd">
      <pc:chgData name="Friedrich, Hermann (T RDA FOA)" userId="a5622eb3-2c34-4ca5-a905-34ed83c191b9" providerId="ADAL" clId="{A0F4F25D-C2F0-4BB7-9DBE-195C90754AB2}" dt="2021-02-22T13:44:45.765" v="691" actId="113"/>
      <pc:docMkLst>
        <pc:docMk/>
      </pc:docMkLst>
      <pc:sldChg chg="modSp mod">
        <pc:chgData name="Friedrich, Hermann (T RDA FOA)" userId="a5622eb3-2c34-4ca5-a905-34ed83c191b9" providerId="ADAL" clId="{A0F4F25D-C2F0-4BB7-9DBE-195C90754AB2}" dt="2021-02-22T13:44:45.765" v="691" actId="113"/>
        <pc:sldMkLst>
          <pc:docMk/>
          <pc:sldMk cId="3061920705" sldId="341"/>
        </pc:sldMkLst>
        <pc:spChg chg="mod">
          <ac:chgData name="Friedrich, Hermann (T RDA FOA)" userId="a5622eb3-2c34-4ca5-a905-34ed83c191b9" providerId="ADAL" clId="{A0F4F25D-C2F0-4BB7-9DBE-195C90754AB2}" dt="2021-02-22T13:44:45.765" v="691" actId="113"/>
          <ac:spMkLst>
            <pc:docMk/>
            <pc:sldMk cId="3061920705" sldId="341"/>
            <ac:spMk id="11" creationId="{F6B6AF98-2DB1-4FBB-B759-6D46D578849A}"/>
          </ac:spMkLst>
        </pc:spChg>
      </pc:sldChg>
      <pc:sldChg chg="addSp modSp mod modShow">
        <pc:chgData name="Friedrich, Hermann (T RDA FOA)" userId="a5622eb3-2c34-4ca5-a905-34ed83c191b9" providerId="ADAL" clId="{A0F4F25D-C2F0-4BB7-9DBE-195C90754AB2}" dt="2021-02-22T13:41:25.530" v="677" actId="729"/>
        <pc:sldMkLst>
          <pc:docMk/>
          <pc:sldMk cId="1540080344" sldId="343"/>
        </pc:sldMkLst>
        <pc:spChg chg="mod">
          <ac:chgData name="Friedrich, Hermann (T RDA FOA)" userId="a5622eb3-2c34-4ca5-a905-34ed83c191b9" providerId="ADAL" clId="{A0F4F25D-C2F0-4BB7-9DBE-195C90754AB2}" dt="2021-02-22T13:38:36.467" v="676" actId="20577"/>
          <ac:spMkLst>
            <pc:docMk/>
            <pc:sldMk cId="1540080344" sldId="343"/>
            <ac:spMk id="2" creationId="{F017E2AF-D5D9-4889-85EB-058895244DD9}"/>
          </ac:spMkLst>
        </pc:spChg>
        <pc:spChg chg="mod">
          <ac:chgData name="Friedrich, Hermann (T RDA FOA)" userId="a5622eb3-2c34-4ca5-a905-34ed83c191b9" providerId="ADAL" clId="{A0F4F25D-C2F0-4BB7-9DBE-195C90754AB2}" dt="2021-02-22T13:37:38.229" v="544" actId="14100"/>
          <ac:spMkLst>
            <pc:docMk/>
            <pc:sldMk cId="1540080344" sldId="343"/>
            <ac:spMk id="16" creationId="{A2232D69-6F56-430E-8594-208BEA6D0D95}"/>
          </ac:spMkLst>
        </pc:spChg>
        <pc:spChg chg="add mod">
          <ac:chgData name="Friedrich, Hermann (T RDA FOA)" userId="a5622eb3-2c34-4ca5-a905-34ed83c191b9" providerId="ADAL" clId="{A0F4F25D-C2F0-4BB7-9DBE-195C90754AB2}" dt="2021-02-22T13:37:44.588" v="548" actId="20577"/>
          <ac:spMkLst>
            <pc:docMk/>
            <pc:sldMk cId="1540080344" sldId="343"/>
            <ac:spMk id="39" creationId="{FE6BCD51-5E61-476F-962F-C90FF8A3CF8C}"/>
          </ac:spMkLst>
        </pc:spChg>
        <pc:spChg chg="add mod">
          <ac:chgData name="Friedrich, Hermann (T RDA FOA)" userId="a5622eb3-2c34-4ca5-a905-34ed83c191b9" providerId="ADAL" clId="{A0F4F25D-C2F0-4BB7-9DBE-195C90754AB2}" dt="2021-02-22T13:37:53.650" v="559" actId="20577"/>
          <ac:spMkLst>
            <pc:docMk/>
            <pc:sldMk cId="1540080344" sldId="343"/>
            <ac:spMk id="40" creationId="{AE5FB030-6B81-4C36-BEA9-288EDCBD3A93}"/>
          </ac:spMkLst>
        </pc:spChg>
      </pc:sldChg>
      <pc:sldChg chg="ord">
        <pc:chgData name="Friedrich, Hermann (T RDA FOA)" userId="a5622eb3-2c34-4ca5-a905-34ed83c191b9" providerId="ADAL" clId="{A0F4F25D-C2F0-4BB7-9DBE-195C90754AB2}" dt="2021-02-22T13:15:09.465" v="480"/>
        <pc:sldMkLst>
          <pc:docMk/>
          <pc:sldMk cId="2943026226" sldId="345"/>
        </pc:sldMkLst>
      </pc:sldChg>
      <pc:sldChg chg="addSp delSp modSp mod">
        <pc:chgData name="Friedrich, Hermann (T RDA FOA)" userId="a5622eb3-2c34-4ca5-a905-34ed83c191b9" providerId="ADAL" clId="{A0F4F25D-C2F0-4BB7-9DBE-195C90754AB2}" dt="2021-02-22T13:35:18.604" v="543"/>
        <pc:sldMkLst>
          <pc:docMk/>
          <pc:sldMk cId="4267342481" sldId="3192"/>
        </pc:sldMkLst>
        <pc:spChg chg="mod">
          <ac:chgData name="Friedrich, Hermann (T RDA FOA)" userId="a5622eb3-2c34-4ca5-a905-34ed83c191b9" providerId="ADAL" clId="{A0F4F25D-C2F0-4BB7-9DBE-195C90754AB2}" dt="2021-02-22T13:10:19.535" v="429" actId="1038"/>
          <ac:spMkLst>
            <pc:docMk/>
            <pc:sldMk cId="4267342481" sldId="3192"/>
            <ac:spMk id="6" creationId="{D6146EFF-9C53-43D2-B802-663904C4FE4A}"/>
          </ac:spMkLst>
        </pc:spChg>
        <pc:spChg chg="mod">
          <ac:chgData name="Friedrich, Hermann (T RDA FOA)" userId="a5622eb3-2c34-4ca5-a905-34ed83c191b9" providerId="ADAL" clId="{A0F4F25D-C2F0-4BB7-9DBE-195C90754AB2}" dt="2021-02-22T13:10:19.535" v="429" actId="1038"/>
          <ac:spMkLst>
            <pc:docMk/>
            <pc:sldMk cId="4267342481" sldId="3192"/>
            <ac:spMk id="7" creationId="{50C3F952-7C38-400B-A5EB-B2DADFB6A6AB}"/>
          </ac:spMkLst>
        </pc:spChg>
        <pc:spChg chg="mod">
          <ac:chgData name="Friedrich, Hermann (T RDA FOA)" userId="a5622eb3-2c34-4ca5-a905-34ed83c191b9" providerId="ADAL" clId="{A0F4F25D-C2F0-4BB7-9DBE-195C90754AB2}" dt="2021-02-22T13:10:19.535" v="429" actId="1038"/>
          <ac:spMkLst>
            <pc:docMk/>
            <pc:sldMk cId="4267342481" sldId="3192"/>
            <ac:spMk id="8" creationId="{475886E5-49BB-4AD3-8C81-A956684559D8}"/>
          </ac:spMkLst>
        </pc:spChg>
        <pc:spChg chg="mod">
          <ac:chgData name="Friedrich, Hermann (T RDA FOA)" userId="a5622eb3-2c34-4ca5-a905-34ed83c191b9" providerId="ADAL" clId="{A0F4F25D-C2F0-4BB7-9DBE-195C90754AB2}" dt="2021-02-22T13:35:18.604" v="543"/>
          <ac:spMkLst>
            <pc:docMk/>
            <pc:sldMk cId="4267342481" sldId="3192"/>
            <ac:spMk id="9" creationId="{DFD83E63-4FEE-465B-9194-433CDC8BA5D1}"/>
          </ac:spMkLst>
        </pc:spChg>
        <pc:spChg chg="mod">
          <ac:chgData name="Friedrich, Hermann (T RDA FOA)" userId="a5622eb3-2c34-4ca5-a905-34ed83c191b9" providerId="ADAL" clId="{A0F4F25D-C2F0-4BB7-9DBE-195C90754AB2}" dt="2021-02-22T13:10:19.535" v="429" actId="1038"/>
          <ac:spMkLst>
            <pc:docMk/>
            <pc:sldMk cId="4267342481" sldId="3192"/>
            <ac:spMk id="10" creationId="{AD16EEE9-6251-4122-93F3-9BAF0CED6B6D}"/>
          </ac:spMkLst>
        </pc:spChg>
        <pc:spChg chg="mod">
          <ac:chgData name="Friedrich, Hermann (T RDA FOA)" userId="a5622eb3-2c34-4ca5-a905-34ed83c191b9" providerId="ADAL" clId="{A0F4F25D-C2F0-4BB7-9DBE-195C90754AB2}" dt="2021-02-22T13:33:56.221" v="541" actId="113"/>
          <ac:spMkLst>
            <pc:docMk/>
            <pc:sldMk cId="4267342481" sldId="3192"/>
            <ac:spMk id="11" creationId="{F4DFB32F-F322-49DE-A81B-3FA8619CE7D2}"/>
          </ac:spMkLst>
        </pc:spChg>
        <pc:spChg chg="mod">
          <ac:chgData name="Friedrich, Hermann (T RDA FOA)" userId="a5622eb3-2c34-4ca5-a905-34ed83c191b9" providerId="ADAL" clId="{A0F4F25D-C2F0-4BB7-9DBE-195C90754AB2}" dt="2021-02-22T13:10:19.535" v="429" actId="1038"/>
          <ac:spMkLst>
            <pc:docMk/>
            <pc:sldMk cId="4267342481" sldId="3192"/>
            <ac:spMk id="12" creationId="{AD32C73B-DEE8-4A1A-943A-D9E7414989FC}"/>
          </ac:spMkLst>
        </pc:spChg>
        <pc:spChg chg="mod">
          <ac:chgData name="Friedrich, Hermann (T RDA FOA)" userId="a5622eb3-2c34-4ca5-a905-34ed83c191b9" providerId="ADAL" clId="{A0F4F25D-C2F0-4BB7-9DBE-195C90754AB2}" dt="2021-02-22T13:10:26.782" v="441" actId="1038"/>
          <ac:spMkLst>
            <pc:docMk/>
            <pc:sldMk cId="4267342481" sldId="3192"/>
            <ac:spMk id="13" creationId="{5B3A3A1F-6EAA-4968-86FA-A8553850E2AC}"/>
          </ac:spMkLst>
        </pc:spChg>
        <pc:spChg chg="mod">
          <ac:chgData name="Friedrich, Hermann (T RDA FOA)" userId="a5622eb3-2c34-4ca5-a905-34ed83c191b9" providerId="ADAL" clId="{A0F4F25D-C2F0-4BB7-9DBE-195C90754AB2}" dt="2021-02-22T13:10:19.535" v="429" actId="1038"/>
          <ac:spMkLst>
            <pc:docMk/>
            <pc:sldMk cId="4267342481" sldId="3192"/>
            <ac:spMk id="14" creationId="{79B59451-1417-4D55-B64F-CD5C7C778B22}"/>
          </ac:spMkLst>
        </pc:spChg>
        <pc:spChg chg="mod">
          <ac:chgData name="Friedrich, Hermann (T RDA FOA)" userId="a5622eb3-2c34-4ca5-a905-34ed83c191b9" providerId="ADAL" clId="{A0F4F25D-C2F0-4BB7-9DBE-195C90754AB2}" dt="2021-02-22T12:54:44.309" v="104" actId="20577"/>
          <ac:spMkLst>
            <pc:docMk/>
            <pc:sldMk cId="4267342481" sldId="3192"/>
            <ac:spMk id="29" creationId="{BABFDBF8-977C-45EE-B2DB-9A1EB0807692}"/>
          </ac:spMkLst>
        </pc:spChg>
        <pc:spChg chg="mod">
          <ac:chgData name="Friedrich, Hermann (T RDA FOA)" userId="a5622eb3-2c34-4ca5-a905-34ed83c191b9" providerId="ADAL" clId="{A0F4F25D-C2F0-4BB7-9DBE-195C90754AB2}" dt="2021-02-22T12:53:20.542" v="94" actId="1036"/>
          <ac:spMkLst>
            <pc:docMk/>
            <pc:sldMk cId="4267342481" sldId="3192"/>
            <ac:spMk id="31" creationId="{601DDBDE-CCC0-45A1-9391-F35C6C5FA48E}"/>
          </ac:spMkLst>
        </pc:spChg>
        <pc:spChg chg="mod">
          <ac:chgData name="Friedrich, Hermann (T RDA FOA)" userId="a5622eb3-2c34-4ca5-a905-34ed83c191b9" providerId="ADAL" clId="{A0F4F25D-C2F0-4BB7-9DBE-195C90754AB2}" dt="2021-02-22T12:53:09.496" v="81" actId="20577"/>
          <ac:spMkLst>
            <pc:docMk/>
            <pc:sldMk cId="4267342481" sldId="3192"/>
            <ac:spMk id="34" creationId="{F2530093-EB33-4E68-A69C-93E602D9B16F}"/>
          </ac:spMkLst>
        </pc:spChg>
        <pc:spChg chg="add del mod">
          <ac:chgData name="Friedrich, Hermann (T RDA FOA)" userId="a5622eb3-2c34-4ca5-a905-34ed83c191b9" providerId="ADAL" clId="{A0F4F25D-C2F0-4BB7-9DBE-195C90754AB2}" dt="2021-02-22T13:08:55.162" v="386" actId="478"/>
          <ac:spMkLst>
            <pc:docMk/>
            <pc:sldMk cId="4267342481" sldId="3192"/>
            <ac:spMk id="37" creationId="{25A6C050-67FC-4F63-8343-4E0C8CF776D1}"/>
          </ac:spMkLst>
        </pc:spChg>
        <pc:spChg chg="add mod">
          <ac:chgData name="Friedrich, Hermann (T RDA FOA)" userId="a5622eb3-2c34-4ca5-a905-34ed83c191b9" providerId="ADAL" clId="{A0F4F25D-C2F0-4BB7-9DBE-195C90754AB2}" dt="2021-02-22T13:10:04.881" v="420"/>
          <ac:spMkLst>
            <pc:docMk/>
            <pc:sldMk cId="4267342481" sldId="3192"/>
            <ac:spMk id="38" creationId="{8852F3BB-3F48-4AD5-B08E-DE2B8CAFE261}"/>
          </ac:spMkLst>
        </pc:spChg>
        <pc:spChg chg="add mod">
          <ac:chgData name="Friedrich, Hermann (T RDA FOA)" userId="a5622eb3-2c34-4ca5-a905-34ed83c191b9" providerId="ADAL" clId="{A0F4F25D-C2F0-4BB7-9DBE-195C90754AB2}" dt="2021-02-22T13:10:03.260" v="416" actId="115"/>
          <ac:spMkLst>
            <pc:docMk/>
            <pc:sldMk cId="4267342481" sldId="3192"/>
            <ac:spMk id="39" creationId="{9FC56EF1-FA10-4B9C-9F7C-EAD7993DF46C}"/>
          </ac:spMkLst>
        </pc:spChg>
        <pc:spChg chg="add mod">
          <ac:chgData name="Friedrich, Hermann (T RDA FOA)" userId="a5622eb3-2c34-4ca5-a905-34ed83c191b9" providerId="ADAL" clId="{A0F4F25D-C2F0-4BB7-9DBE-195C90754AB2}" dt="2021-02-22T13:10:04.879" v="418"/>
          <ac:spMkLst>
            <pc:docMk/>
            <pc:sldMk cId="4267342481" sldId="3192"/>
            <ac:spMk id="40" creationId="{D8B48E32-047D-44F6-9E69-4D0F7D87ECCB}"/>
          </ac:spMkLst>
        </pc:spChg>
        <pc:picChg chg="mod">
          <ac:chgData name="Friedrich, Hermann (T RDA FOA)" userId="a5622eb3-2c34-4ca5-a905-34ed83c191b9" providerId="ADAL" clId="{A0F4F25D-C2F0-4BB7-9DBE-195C90754AB2}" dt="2021-02-22T13:10:19.535" v="429" actId="1038"/>
          <ac:picMkLst>
            <pc:docMk/>
            <pc:sldMk cId="4267342481" sldId="3192"/>
            <ac:picMk id="5" creationId="{91BEE1A0-901D-4527-85CA-1C19B23588FC}"/>
          </ac:picMkLst>
        </pc:picChg>
        <pc:cxnChg chg="mod">
          <ac:chgData name="Friedrich, Hermann (T RDA FOA)" userId="a5622eb3-2c34-4ca5-a905-34ed83c191b9" providerId="ADAL" clId="{A0F4F25D-C2F0-4BB7-9DBE-195C90754AB2}" dt="2021-02-22T13:10:19.535" v="429" actId="1038"/>
          <ac:cxnSpMkLst>
            <pc:docMk/>
            <pc:sldMk cId="4267342481" sldId="3192"/>
            <ac:cxnSpMk id="16" creationId="{749DD885-B16C-4C52-951F-CF35FBCBA82F}"/>
          </ac:cxnSpMkLst>
        </pc:cxnChg>
        <pc:cxnChg chg="mod">
          <ac:chgData name="Friedrich, Hermann (T RDA FOA)" userId="a5622eb3-2c34-4ca5-a905-34ed83c191b9" providerId="ADAL" clId="{A0F4F25D-C2F0-4BB7-9DBE-195C90754AB2}" dt="2021-02-22T13:10:19.535" v="429" actId="1038"/>
          <ac:cxnSpMkLst>
            <pc:docMk/>
            <pc:sldMk cId="4267342481" sldId="3192"/>
            <ac:cxnSpMk id="17" creationId="{C51B57F2-C0BE-45B8-A770-FA992C521D3F}"/>
          </ac:cxnSpMkLst>
        </pc:cxnChg>
        <pc:cxnChg chg="mod">
          <ac:chgData name="Friedrich, Hermann (T RDA FOA)" userId="a5622eb3-2c34-4ca5-a905-34ed83c191b9" providerId="ADAL" clId="{A0F4F25D-C2F0-4BB7-9DBE-195C90754AB2}" dt="2021-02-22T13:10:19.535" v="429" actId="1038"/>
          <ac:cxnSpMkLst>
            <pc:docMk/>
            <pc:sldMk cId="4267342481" sldId="3192"/>
            <ac:cxnSpMk id="19" creationId="{4D55F0F6-A7B7-4330-88AF-27BD18C083BB}"/>
          </ac:cxnSpMkLst>
        </pc:cxnChg>
        <pc:cxnChg chg="mod">
          <ac:chgData name="Friedrich, Hermann (T RDA FOA)" userId="a5622eb3-2c34-4ca5-a905-34ed83c191b9" providerId="ADAL" clId="{A0F4F25D-C2F0-4BB7-9DBE-195C90754AB2}" dt="2021-02-22T13:10:19.535" v="429" actId="1038"/>
          <ac:cxnSpMkLst>
            <pc:docMk/>
            <pc:sldMk cId="4267342481" sldId="3192"/>
            <ac:cxnSpMk id="24" creationId="{6255A662-0F1F-4508-BB50-C966C98FB119}"/>
          </ac:cxnSpMkLst>
        </pc:cxnChg>
      </pc:sldChg>
      <pc:sldChg chg="addSp modSp mod">
        <pc:chgData name="Friedrich, Hermann (T RDA FOA)" userId="a5622eb3-2c34-4ca5-a905-34ed83c191b9" providerId="ADAL" clId="{A0F4F25D-C2F0-4BB7-9DBE-195C90754AB2}" dt="2021-02-22T13:13:37.257" v="478"/>
        <pc:sldMkLst>
          <pc:docMk/>
          <pc:sldMk cId="1083926550" sldId="3193"/>
        </pc:sldMkLst>
        <pc:spChg chg="mod">
          <ac:chgData name="Friedrich, Hermann (T RDA FOA)" userId="a5622eb3-2c34-4ca5-a905-34ed83c191b9" providerId="ADAL" clId="{A0F4F25D-C2F0-4BB7-9DBE-195C90754AB2}" dt="2021-02-22T13:05:00.536" v="310"/>
          <ac:spMkLst>
            <pc:docMk/>
            <pc:sldMk cId="1083926550" sldId="3193"/>
            <ac:spMk id="5" creationId="{48855DB7-5D66-4535-965C-6E6F537D4A6D}"/>
          </ac:spMkLst>
        </pc:spChg>
        <pc:spChg chg="mod">
          <ac:chgData name="Friedrich, Hermann (T RDA FOA)" userId="a5622eb3-2c34-4ca5-a905-34ed83c191b9" providerId="ADAL" clId="{A0F4F25D-C2F0-4BB7-9DBE-195C90754AB2}" dt="2021-02-22T13:05:00.537" v="312"/>
          <ac:spMkLst>
            <pc:docMk/>
            <pc:sldMk cId="1083926550" sldId="3193"/>
            <ac:spMk id="6" creationId="{588841F4-53AE-4DBB-B7CC-E36F7ADC4ADF}"/>
          </ac:spMkLst>
        </pc:spChg>
        <pc:spChg chg="mod">
          <ac:chgData name="Friedrich, Hermann (T RDA FOA)" userId="a5622eb3-2c34-4ca5-a905-34ed83c191b9" providerId="ADAL" clId="{A0F4F25D-C2F0-4BB7-9DBE-195C90754AB2}" dt="2021-02-22T13:05:00.538" v="313"/>
          <ac:spMkLst>
            <pc:docMk/>
            <pc:sldMk cId="1083926550" sldId="3193"/>
            <ac:spMk id="9" creationId="{E2D53C6B-29F2-494B-AD06-7780C1199B41}"/>
          </ac:spMkLst>
        </pc:spChg>
        <pc:spChg chg="mod">
          <ac:chgData name="Friedrich, Hermann (T RDA FOA)" userId="a5622eb3-2c34-4ca5-a905-34ed83c191b9" providerId="ADAL" clId="{A0F4F25D-C2F0-4BB7-9DBE-195C90754AB2}" dt="2021-02-22T13:05:00.538" v="313"/>
          <ac:spMkLst>
            <pc:docMk/>
            <pc:sldMk cId="1083926550" sldId="3193"/>
            <ac:spMk id="10" creationId="{9367021B-0ED6-45A2-B042-D479109B2CB0}"/>
          </ac:spMkLst>
        </pc:spChg>
        <pc:spChg chg="mod">
          <ac:chgData name="Friedrich, Hermann (T RDA FOA)" userId="a5622eb3-2c34-4ca5-a905-34ed83c191b9" providerId="ADAL" clId="{A0F4F25D-C2F0-4BB7-9DBE-195C90754AB2}" dt="2021-02-22T13:05:00.538" v="314"/>
          <ac:spMkLst>
            <pc:docMk/>
            <pc:sldMk cId="1083926550" sldId="3193"/>
            <ac:spMk id="12" creationId="{9E9ADA0E-9BF9-42A5-BB0C-CEC75472508D}"/>
          </ac:spMkLst>
        </pc:spChg>
        <pc:spChg chg="mod">
          <ac:chgData name="Friedrich, Hermann (T RDA FOA)" userId="a5622eb3-2c34-4ca5-a905-34ed83c191b9" providerId="ADAL" clId="{A0F4F25D-C2F0-4BB7-9DBE-195C90754AB2}" dt="2021-02-22T13:05:00.538" v="314"/>
          <ac:spMkLst>
            <pc:docMk/>
            <pc:sldMk cId="1083926550" sldId="3193"/>
            <ac:spMk id="13" creationId="{7AE6CBA9-6EE7-405C-9CF3-4FAA4AB1759A}"/>
          </ac:spMkLst>
        </pc:spChg>
        <pc:spChg chg="mod">
          <ac:chgData name="Friedrich, Hermann (T RDA FOA)" userId="a5622eb3-2c34-4ca5-a905-34ed83c191b9" providerId="ADAL" clId="{A0F4F25D-C2F0-4BB7-9DBE-195C90754AB2}" dt="2021-02-22T13:05:00.539" v="315"/>
          <ac:spMkLst>
            <pc:docMk/>
            <pc:sldMk cId="1083926550" sldId="3193"/>
            <ac:spMk id="15" creationId="{CA34E78F-4EB2-4063-A87A-DAEBC069DFFC}"/>
          </ac:spMkLst>
        </pc:spChg>
        <pc:spChg chg="mod">
          <ac:chgData name="Friedrich, Hermann (T RDA FOA)" userId="a5622eb3-2c34-4ca5-a905-34ed83c191b9" providerId="ADAL" clId="{A0F4F25D-C2F0-4BB7-9DBE-195C90754AB2}" dt="2021-02-22T13:05:00.539" v="315"/>
          <ac:spMkLst>
            <pc:docMk/>
            <pc:sldMk cId="1083926550" sldId="3193"/>
            <ac:spMk id="16" creationId="{EE944C2C-2599-47A5-A3C2-77590999F828}"/>
          </ac:spMkLst>
        </pc:spChg>
        <pc:spChg chg="mod">
          <ac:chgData name="Friedrich, Hermann (T RDA FOA)" userId="a5622eb3-2c34-4ca5-a905-34ed83c191b9" providerId="ADAL" clId="{A0F4F25D-C2F0-4BB7-9DBE-195C90754AB2}" dt="2021-02-22T13:05:00.540" v="317"/>
          <ac:spMkLst>
            <pc:docMk/>
            <pc:sldMk cId="1083926550" sldId="3193"/>
            <ac:spMk id="17" creationId="{BDEA1995-249E-4CFE-AF41-04A0C5907BAB}"/>
          </ac:spMkLst>
        </pc:spChg>
        <pc:spChg chg="mod">
          <ac:chgData name="Friedrich, Hermann (T RDA FOA)" userId="a5622eb3-2c34-4ca5-a905-34ed83c191b9" providerId="ADAL" clId="{A0F4F25D-C2F0-4BB7-9DBE-195C90754AB2}" dt="2021-02-22T13:05:00.541" v="318"/>
          <ac:spMkLst>
            <pc:docMk/>
            <pc:sldMk cId="1083926550" sldId="3193"/>
            <ac:spMk id="19" creationId="{0DD7981E-5FCF-49D1-93FF-3768260F2FA2}"/>
          </ac:spMkLst>
        </pc:spChg>
        <pc:spChg chg="mod">
          <ac:chgData name="Friedrich, Hermann (T RDA FOA)" userId="a5622eb3-2c34-4ca5-a905-34ed83c191b9" providerId="ADAL" clId="{A0F4F25D-C2F0-4BB7-9DBE-195C90754AB2}" dt="2021-02-22T13:05:00.541" v="318"/>
          <ac:spMkLst>
            <pc:docMk/>
            <pc:sldMk cId="1083926550" sldId="3193"/>
            <ac:spMk id="20" creationId="{0E7EA831-B7DF-429C-BB96-5CEFBA3C9F77}"/>
          </ac:spMkLst>
        </pc:spChg>
        <pc:spChg chg="mod">
          <ac:chgData name="Friedrich, Hermann (T RDA FOA)" userId="a5622eb3-2c34-4ca5-a905-34ed83c191b9" providerId="ADAL" clId="{A0F4F25D-C2F0-4BB7-9DBE-195C90754AB2}" dt="2021-02-22T12:58:11.058" v="188" actId="14100"/>
          <ac:spMkLst>
            <pc:docMk/>
            <pc:sldMk cId="1083926550" sldId="3193"/>
            <ac:spMk id="21" creationId="{2850B184-DDB1-4587-97C4-EBA3F420C996}"/>
          </ac:spMkLst>
        </pc:spChg>
        <pc:spChg chg="mod">
          <ac:chgData name="Friedrich, Hermann (T RDA FOA)" userId="a5622eb3-2c34-4ca5-a905-34ed83c191b9" providerId="ADAL" clId="{A0F4F25D-C2F0-4BB7-9DBE-195C90754AB2}" dt="2021-02-22T13:10:51.569" v="443" actId="113"/>
          <ac:spMkLst>
            <pc:docMk/>
            <pc:sldMk cId="1083926550" sldId="3193"/>
            <ac:spMk id="24" creationId="{4E513728-9A0B-424B-A74A-F7D17329CDF2}"/>
          </ac:spMkLst>
        </pc:spChg>
        <pc:spChg chg="mod">
          <ac:chgData name="Friedrich, Hermann (T RDA FOA)" userId="a5622eb3-2c34-4ca5-a905-34ed83c191b9" providerId="ADAL" clId="{A0F4F25D-C2F0-4BB7-9DBE-195C90754AB2}" dt="2021-02-22T13:06:12.592" v="358" actId="14100"/>
          <ac:spMkLst>
            <pc:docMk/>
            <pc:sldMk cId="1083926550" sldId="3193"/>
            <ac:spMk id="30" creationId="{EBF4D141-8C5F-4B92-B5D6-F6BE11101E59}"/>
          </ac:spMkLst>
        </pc:spChg>
        <pc:spChg chg="mod">
          <ac:chgData name="Friedrich, Hermann (T RDA FOA)" userId="a5622eb3-2c34-4ca5-a905-34ed83c191b9" providerId="ADAL" clId="{A0F4F25D-C2F0-4BB7-9DBE-195C90754AB2}" dt="2021-02-22T13:06:04.300" v="357" actId="1038"/>
          <ac:spMkLst>
            <pc:docMk/>
            <pc:sldMk cId="1083926550" sldId="3193"/>
            <ac:spMk id="31" creationId="{6A8275E1-CAD7-45C1-81C3-A377D02E9068}"/>
          </ac:spMkLst>
        </pc:spChg>
        <pc:spChg chg="mod">
          <ac:chgData name="Friedrich, Hermann (T RDA FOA)" userId="a5622eb3-2c34-4ca5-a905-34ed83c191b9" providerId="ADAL" clId="{A0F4F25D-C2F0-4BB7-9DBE-195C90754AB2}" dt="2021-02-22T13:06:04.300" v="357" actId="1038"/>
          <ac:spMkLst>
            <pc:docMk/>
            <pc:sldMk cId="1083926550" sldId="3193"/>
            <ac:spMk id="32" creationId="{51B43FBA-9B58-4BCC-924D-97F14BB31FAB}"/>
          </ac:spMkLst>
        </pc:spChg>
        <pc:spChg chg="mod">
          <ac:chgData name="Friedrich, Hermann (T RDA FOA)" userId="a5622eb3-2c34-4ca5-a905-34ed83c191b9" providerId="ADAL" clId="{A0F4F25D-C2F0-4BB7-9DBE-195C90754AB2}" dt="2021-02-22T13:06:19.119" v="359" actId="20577"/>
          <ac:spMkLst>
            <pc:docMk/>
            <pc:sldMk cId="1083926550" sldId="3193"/>
            <ac:spMk id="33" creationId="{22F763BA-1C6B-4A4A-90F8-E7DD966B2810}"/>
          </ac:spMkLst>
        </pc:spChg>
        <pc:spChg chg="mod">
          <ac:chgData name="Friedrich, Hermann (T RDA FOA)" userId="a5622eb3-2c34-4ca5-a905-34ed83c191b9" providerId="ADAL" clId="{A0F4F25D-C2F0-4BB7-9DBE-195C90754AB2}" dt="2021-02-22T13:12:05.471" v="452" actId="20577"/>
          <ac:spMkLst>
            <pc:docMk/>
            <pc:sldMk cId="1083926550" sldId="3193"/>
            <ac:spMk id="35" creationId="{6DE134BD-2A9F-447E-8B58-D48C9785A808}"/>
          </ac:spMkLst>
        </pc:spChg>
        <pc:spChg chg="mod">
          <ac:chgData name="Friedrich, Hermann (T RDA FOA)" userId="a5622eb3-2c34-4ca5-a905-34ed83c191b9" providerId="ADAL" clId="{A0F4F25D-C2F0-4BB7-9DBE-195C90754AB2}" dt="2021-02-22T13:13:37.257" v="478"/>
          <ac:spMkLst>
            <pc:docMk/>
            <pc:sldMk cId="1083926550" sldId="3193"/>
            <ac:spMk id="38" creationId="{10701887-0891-4BD6-97C0-5D6F243F8A3D}"/>
          </ac:spMkLst>
        </pc:spChg>
        <pc:spChg chg="add mod">
          <ac:chgData name="Friedrich, Hermann (T RDA FOA)" userId="a5622eb3-2c34-4ca5-a905-34ed83c191b9" providerId="ADAL" clId="{A0F4F25D-C2F0-4BB7-9DBE-195C90754AB2}" dt="2021-02-22T13:11:07.892" v="447" actId="20577"/>
          <ac:spMkLst>
            <pc:docMk/>
            <pc:sldMk cId="1083926550" sldId="3193"/>
            <ac:spMk id="46" creationId="{39EBA441-2E71-4247-8FED-E700DDF65176}"/>
          </ac:spMkLst>
        </pc:spChg>
        <pc:spChg chg="add mod">
          <ac:chgData name="Friedrich, Hermann (T RDA FOA)" userId="a5622eb3-2c34-4ca5-a905-34ed83c191b9" providerId="ADAL" clId="{A0F4F25D-C2F0-4BB7-9DBE-195C90754AB2}" dt="2021-02-22T13:03:13.667" v="305" actId="1076"/>
          <ac:spMkLst>
            <pc:docMk/>
            <pc:sldMk cId="1083926550" sldId="3193"/>
            <ac:spMk id="52" creationId="{ED4F3DFC-3FE5-47DF-8684-FDDAC9612FA5}"/>
          </ac:spMkLst>
        </pc:spChg>
        <pc:spChg chg="add mod">
          <ac:chgData name="Friedrich, Hermann (T RDA FOA)" userId="a5622eb3-2c34-4ca5-a905-34ed83c191b9" providerId="ADAL" clId="{A0F4F25D-C2F0-4BB7-9DBE-195C90754AB2}" dt="2021-02-22T13:13:26.628" v="477" actId="1038"/>
          <ac:spMkLst>
            <pc:docMk/>
            <pc:sldMk cId="1083926550" sldId="3193"/>
            <ac:spMk id="54" creationId="{825D5E82-C898-474C-AE8F-E4C4D0E7600D}"/>
          </ac:spMkLst>
        </pc:spChg>
        <pc:spChg chg="add mod">
          <ac:chgData name="Friedrich, Hermann (T RDA FOA)" userId="a5622eb3-2c34-4ca5-a905-34ed83c191b9" providerId="ADAL" clId="{A0F4F25D-C2F0-4BB7-9DBE-195C90754AB2}" dt="2021-02-22T13:12:58.299" v="463" actId="1076"/>
          <ac:spMkLst>
            <pc:docMk/>
            <pc:sldMk cId="1083926550" sldId="3193"/>
            <ac:spMk id="57" creationId="{93E5E153-2200-482A-BCF8-7015D3E360DE}"/>
          </ac:spMkLst>
        </pc:spChg>
        <pc:grpChg chg="mod">
          <ac:chgData name="Friedrich, Hermann (T RDA FOA)" userId="a5622eb3-2c34-4ca5-a905-34ed83c191b9" providerId="ADAL" clId="{A0F4F25D-C2F0-4BB7-9DBE-195C90754AB2}" dt="2021-02-22T13:05:00.538" v="313"/>
          <ac:grpSpMkLst>
            <pc:docMk/>
            <pc:sldMk cId="1083926550" sldId="3193"/>
            <ac:grpSpMk id="8" creationId="{4D9AF9AD-DBEF-4DCE-A92C-C32DF31C7080}"/>
          </ac:grpSpMkLst>
        </pc:grpChg>
        <pc:grpChg chg="mod">
          <ac:chgData name="Friedrich, Hermann (T RDA FOA)" userId="a5622eb3-2c34-4ca5-a905-34ed83c191b9" providerId="ADAL" clId="{A0F4F25D-C2F0-4BB7-9DBE-195C90754AB2}" dt="2021-02-22T13:05:00.538" v="314"/>
          <ac:grpSpMkLst>
            <pc:docMk/>
            <pc:sldMk cId="1083926550" sldId="3193"/>
            <ac:grpSpMk id="11" creationId="{61C10880-955A-4D53-9B18-B9353A8E7B85}"/>
          </ac:grpSpMkLst>
        </pc:grpChg>
        <pc:grpChg chg="mod">
          <ac:chgData name="Friedrich, Hermann (T RDA FOA)" userId="a5622eb3-2c34-4ca5-a905-34ed83c191b9" providerId="ADAL" clId="{A0F4F25D-C2F0-4BB7-9DBE-195C90754AB2}" dt="2021-02-22T13:05:00.539" v="315"/>
          <ac:grpSpMkLst>
            <pc:docMk/>
            <pc:sldMk cId="1083926550" sldId="3193"/>
            <ac:grpSpMk id="14" creationId="{386983EA-E1F3-4D27-BB7B-57DF1084D7EF}"/>
          </ac:grpSpMkLst>
        </pc:grpChg>
        <pc:grpChg chg="mod">
          <ac:chgData name="Friedrich, Hermann (T RDA FOA)" userId="a5622eb3-2c34-4ca5-a905-34ed83c191b9" providerId="ADAL" clId="{A0F4F25D-C2F0-4BB7-9DBE-195C90754AB2}" dt="2021-02-22T13:05:00.541" v="318"/>
          <ac:grpSpMkLst>
            <pc:docMk/>
            <pc:sldMk cId="1083926550" sldId="3193"/>
            <ac:grpSpMk id="18" creationId="{31C58210-749D-4F1D-928E-A907C379C24F}"/>
          </ac:grpSpMkLst>
        </pc:grpChg>
        <pc:grpChg chg="mod">
          <ac:chgData name="Friedrich, Hermann (T RDA FOA)" userId="a5622eb3-2c34-4ca5-a905-34ed83c191b9" providerId="ADAL" clId="{A0F4F25D-C2F0-4BB7-9DBE-195C90754AB2}" dt="2021-02-22T13:05:38.109" v="337" actId="14100"/>
          <ac:grpSpMkLst>
            <pc:docMk/>
            <pc:sldMk cId="1083926550" sldId="3193"/>
            <ac:grpSpMk id="29" creationId="{D59D8F20-BB20-4E38-808A-99A9D5260C5C}"/>
          </ac:grpSpMkLst>
        </pc:grpChg>
        <pc:picChg chg="mod">
          <ac:chgData name="Friedrich, Hermann (T RDA FOA)" userId="a5622eb3-2c34-4ca5-a905-34ed83c191b9" providerId="ADAL" clId="{A0F4F25D-C2F0-4BB7-9DBE-195C90754AB2}" dt="2021-02-22T13:06:38.260" v="363" actId="1038"/>
          <ac:picMkLst>
            <pc:docMk/>
            <pc:sldMk cId="1083926550" sldId="3193"/>
            <ac:picMk id="25" creationId="{224A102C-08E7-4CC7-8F40-B17F850D38E7}"/>
          </ac:picMkLst>
        </pc:picChg>
        <pc:picChg chg="add mod">
          <ac:chgData name="Friedrich, Hermann (T RDA FOA)" userId="a5622eb3-2c34-4ca5-a905-34ed83c191b9" providerId="ADAL" clId="{A0F4F25D-C2F0-4BB7-9DBE-195C90754AB2}" dt="2021-02-22T12:57:22.163" v="185" actId="1076"/>
          <ac:picMkLst>
            <pc:docMk/>
            <pc:sldMk cId="1083926550" sldId="3193"/>
            <ac:picMk id="39" creationId="{771FB566-636D-45C8-A142-1C8EF010C858}"/>
          </ac:picMkLst>
        </pc:picChg>
        <pc:picChg chg="add mod">
          <ac:chgData name="Friedrich, Hermann (T RDA FOA)" userId="a5622eb3-2c34-4ca5-a905-34ed83c191b9" providerId="ADAL" clId="{A0F4F25D-C2F0-4BB7-9DBE-195C90754AB2}" dt="2021-02-22T13:01:21.686" v="273" actId="1076"/>
          <ac:picMkLst>
            <pc:docMk/>
            <pc:sldMk cId="1083926550" sldId="3193"/>
            <ac:picMk id="51" creationId="{CF33E680-6075-4B15-A8FF-2A7DEBC2EFA0}"/>
          </ac:picMkLst>
        </pc:picChg>
        <pc:cxnChg chg="mod">
          <ac:chgData name="Friedrich, Hermann (T RDA FOA)" userId="a5622eb3-2c34-4ca5-a905-34ed83c191b9" providerId="ADAL" clId="{A0F4F25D-C2F0-4BB7-9DBE-195C90754AB2}" dt="2021-02-22T13:06:42.715" v="365" actId="1037"/>
          <ac:cxnSpMkLst>
            <pc:docMk/>
            <pc:sldMk cId="1083926550" sldId="3193"/>
            <ac:cxnSpMk id="23" creationId="{AE7487D8-4568-4A57-8CD1-0EAC09377DEE}"/>
          </ac:cxnSpMkLst>
        </pc:cxnChg>
        <pc:cxnChg chg="mod">
          <ac:chgData name="Friedrich, Hermann (T RDA FOA)" userId="a5622eb3-2c34-4ca5-a905-34ed83c191b9" providerId="ADAL" clId="{A0F4F25D-C2F0-4BB7-9DBE-195C90754AB2}" dt="2021-02-22T13:00:47.685" v="268"/>
          <ac:cxnSpMkLst>
            <pc:docMk/>
            <pc:sldMk cId="1083926550" sldId="3193"/>
            <ac:cxnSpMk id="26" creationId="{DF2F3272-C332-4FCB-9D2F-7E1CDA036AAE}"/>
          </ac:cxnSpMkLst>
        </pc:cxnChg>
        <pc:cxnChg chg="mod">
          <ac:chgData name="Friedrich, Hermann (T RDA FOA)" userId="a5622eb3-2c34-4ca5-a905-34ed83c191b9" providerId="ADAL" clId="{A0F4F25D-C2F0-4BB7-9DBE-195C90754AB2}" dt="2021-02-22T13:03:26.136" v="308" actId="14100"/>
          <ac:cxnSpMkLst>
            <pc:docMk/>
            <pc:sldMk cId="1083926550" sldId="3193"/>
            <ac:cxnSpMk id="36" creationId="{4A70FC0F-1765-447A-8420-273928EAD73D}"/>
          </ac:cxnSpMkLst>
        </pc:cxnChg>
        <pc:cxnChg chg="add mod">
          <ac:chgData name="Friedrich, Hermann (T RDA FOA)" userId="a5622eb3-2c34-4ca5-a905-34ed83c191b9" providerId="ADAL" clId="{A0F4F25D-C2F0-4BB7-9DBE-195C90754AB2}" dt="2021-02-22T13:00:33.395" v="265" actId="14100"/>
          <ac:cxnSpMkLst>
            <pc:docMk/>
            <pc:sldMk cId="1083926550" sldId="3193"/>
            <ac:cxnSpMk id="42" creationId="{7253C881-C8A2-48A8-ABDB-5965738D13CD}"/>
          </ac:cxnSpMkLst>
        </pc:cxnChg>
        <pc:cxnChg chg="add mod">
          <ac:chgData name="Friedrich, Hermann (T RDA FOA)" userId="a5622eb3-2c34-4ca5-a905-34ed83c191b9" providerId="ADAL" clId="{A0F4F25D-C2F0-4BB7-9DBE-195C90754AB2}" dt="2021-02-22T13:12:46.158" v="459"/>
          <ac:cxnSpMkLst>
            <pc:docMk/>
            <pc:sldMk cId="1083926550" sldId="3193"/>
            <ac:cxnSpMk id="55" creationId="{3A454779-F8AA-40EA-9A91-A9043072F0E9}"/>
          </ac:cxnSpMkLst>
        </pc:cxnChg>
        <pc:cxnChg chg="add mod">
          <ac:chgData name="Friedrich, Hermann (T RDA FOA)" userId="a5622eb3-2c34-4ca5-a905-34ed83c191b9" providerId="ADAL" clId="{A0F4F25D-C2F0-4BB7-9DBE-195C90754AB2}" dt="2021-02-22T13:13:19.008" v="468"/>
          <ac:cxnSpMkLst>
            <pc:docMk/>
            <pc:sldMk cId="1083926550" sldId="3193"/>
            <ac:cxnSpMk id="58" creationId="{2679E6B9-C210-41FC-BD16-4E2E530E3CD2}"/>
          </ac:cxnSpMkLst>
        </pc:cxnChg>
      </pc:sldChg>
    </pc:docChg>
  </pc:docChgLst>
  <pc:docChgLst>
    <pc:chgData name="Quiros Araya, Gustavo (T RDA FOA AES-US)" userId="87a2443b-d0c9-4518-9ebc-d799baa37986" providerId="ADAL" clId="{3A4EEDF1-BB07-4895-84AB-D199BDD7075F}"/>
    <pc:docChg chg="undo custSel addSld delSld modSld">
      <pc:chgData name="Quiros Araya, Gustavo (T RDA FOA AES-US)" userId="87a2443b-d0c9-4518-9ebc-d799baa37986" providerId="ADAL" clId="{3A4EEDF1-BB07-4895-84AB-D199BDD7075F}" dt="2021-03-25T12:21:11.863" v="790" actId="1589"/>
      <pc:docMkLst>
        <pc:docMk/>
      </pc:docMkLst>
      <pc:sldChg chg="del">
        <pc:chgData name="Quiros Araya, Gustavo (T RDA FOA AES-US)" userId="87a2443b-d0c9-4518-9ebc-d799baa37986" providerId="ADAL" clId="{3A4EEDF1-BB07-4895-84AB-D199BDD7075F}" dt="2021-03-22T12:21:43.716" v="34" actId="47"/>
        <pc:sldMkLst>
          <pc:docMk/>
          <pc:sldMk cId="2257611418" sldId="342"/>
        </pc:sldMkLst>
      </pc:sldChg>
      <pc:sldChg chg="del">
        <pc:chgData name="Quiros Araya, Gustavo (T RDA FOA AES-US)" userId="87a2443b-d0c9-4518-9ebc-d799baa37986" providerId="ADAL" clId="{3A4EEDF1-BB07-4895-84AB-D199BDD7075F}" dt="2021-03-22T12:32:18.757" v="180" actId="47"/>
        <pc:sldMkLst>
          <pc:docMk/>
          <pc:sldMk cId="1735016355" sldId="344"/>
        </pc:sldMkLst>
      </pc:sldChg>
      <pc:sldChg chg="del">
        <pc:chgData name="Quiros Araya, Gustavo (T RDA FOA AES-US)" userId="87a2443b-d0c9-4518-9ebc-d799baa37986" providerId="ADAL" clId="{3A4EEDF1-BB07-4895-84AB-D199BDD7075F}" dt="2021-03-22T12:32:28.216" v="181" actId="47"/>
        <pc:sldMkLst>
          <pc:docMk/>
          <pc:sldMk cId="4053279906" sldId="3197"/>
        </pc:sldMkLst>
      </pc:sldChg>
      <pc:sldChg chg="modSp mod">
        <pc:chgData name="Quiros Araya, Gustavo (T RDA FOA AES-US)" userId="87a2443b-d0c9-4518-9ebc-d799baa37986" providerId="ADAL" clId="{3A4EEDF1-BB07-4895-84AB-D199BDD7075F}" dt="2021-03-22T12:21:56.659" v="38" actId="20577"/>
        <pc:sldMkLst>
          <pc:docMk/>
          <pc:sldMk cId="4210428915" sldId="3198"/>
        </pc:sldMkLst>
        <pc:spChg chg="mod">
          <ac:chgData name="Quiros Araya, Gustavo (T RDA FOA AES-US)" userId="87a2443b-d0c9-4518-9ebc-d799baa37986" providerId="ADAL" clId="{3A4EEDF1-BB07-4895-84AB-D199BDD7075F}" dt="2021-03-22T12:21:56.659" v="38" actId="20577"/>
          <ac:spMkLst>
            <pc:docMk/>
            <pc:sldMk cId="4210428915" sldId="3198"/>
            <ac:spMk id="17" creationId="{9F1C4C08-3D5C-4C0E-914A-F70CA07D0654}"/>
          </ac:spMkLst>
        </pc:spChg>
      </pc:sldChg>
      <pc:sldChg chg="addSp delSp modSp new mod modClrScheme addCm modCm chgLayout">
        <pc:chgData name="Quiros Araya, Gustavo (T RDA FOA AES-US)" userId="87a2443b-d0c9-4518-9ebc-d799baa37986" providerId="ADAL" clId="{3A4EEDF1-BB07-4895-84AB-D199BDD7075F}" dt="2021-03-25T12:21:11.863" v="790" actId="1589"/>
        <pc:sldMkLst>
          <pc:docMk/>
          <pc:sldMk cId="1142395534" sldId="3201"/>
        </pc:sldMkLst>
        <pc:spChg chg="del mod ord">
          <ac:chgData name="Quiros Araya, Gustavo (T RDA FOA AES-US)" userId="87a2443b-d0c9-4518-9ebc-d799baa37986" providerId="ADAL" clId="{3A4EEDF1-BB07-4895-84AB-D199BDD7075F}" dt="2021-03-22T12:13:37.095" v="1" actId="700"/>
          <ac:spMkLst>
            <pc:docMk/>
            <pc:sldMk cId="1142395534" sldId="3201"/>
            <ac:spMk id="2" creationId="{D04E0683-1E2D-493E-A071-CA88674F1A32}"/>
          </ac:spMkLst>
        </pc:spChg>
        <pc:spChg chg="del mod ord">
          <ac:chgData name="Quiros Araya, Gustavo (T RDA FOA AES-US)" userId="87a2443b-d0c9-4518-9ebc-d799baa37986" providerId="ADAL" clId="{3A4EEDF1-BB07-4895-84AB-D199BDD7075F}" dt="2021-03-22T12:13:37.095" v="1" actId="700"/>
          <ac:spMkLst>
            <pc:docMk/>
            <pc:sldMk cId="1142395534" sldId="3201"/>
            <ac:spMk id="3" creationId="{6EEEBD14-F9FC-40DB-B6E7-2C53D8D461C4}"/>
          </ac:spMkLst>
        </pc:spChg>
        <pc:spChg chg="del">
          <ac:chgData name="Quiros Araya, Gustavo (T RDA FOA AES-US)" userId="87a2443b-d0c9-4518-9ebc-d799baa37986" providerId="ADAL" clId="{3A4EEDF1-BB07-4895-84AB-D199BDD7075F}" dt="2021-03-22T12:13:37.095" v="1" actId="700"/>
          <ac:spMkLst>
            <pc:docMk/>
            <pc:sldMk cId="1142395534" sldId="3201"/>
            <ac:spMk id="4" creationId="{FCA33122-958D-4BAB-8A9F-1086FBDC4774}"/>
          </ac:spMkLst>
        </pc:spChg>
        <pc:spChg chg="del mod ord">
          <ac:chgData name="Quiros Araya, Gustavo (T RDA FOA AES-US)" userId="87a2443b-d0c9-4518-9ebc-d799baa37986" providerId="ADAL" clId="{3A4EEDF1-BB07-4895-84AB-D199BDD7075F}" dt="2021-03-22T12:13:37.095" v="1" actId="700"/>
          <ac:spMkLst>
            <pc:docMk/>
            <pc:sldMk cId="1142395534" sldId="3201"/>
            <ac:spMk id="5" creationId="{B0BAD040-7354-4BCB-930D-72E95069159C}"/>
          </ac:spMkLst>
        </pc:spChg>
        <pc:spChg chg="del">
          <ac:chgData name="Quiros Araya, Gustavo (T RDA FOA AES-US)" userId="87a2443b-d0c9-4518-9ebc-d799baa37986" providerId="ADAL" clId="{3A4EEDF1-BB07-4895-84AB-D199BDD7075F}" dt="2021-03-22T12:13:37.095" v="1" actId="700"/>
          <ac:spMkLst>
            <pc:docMk/>
            <pc:sldMk cId="1142395534" sldId="3201"/>
            <ac:spMk id="6" creationId="{9C62465B-7DCE-437B-8CAF-025099BA28FF}"/>
          </ac:spMkLst>
        </pc:spChg>
        <pc:spChg chg="mod ord">
          <ac:chgData name="Quiros Araya, Gustavo (T RDA FOA AES-US)" userId="87a2443b-d0c9-4518-9ebc-d799baa37986" providerId="ADAL" clId="{3A4EEDF1-BB07-4895-84AB-D199BDD7075F}" dt="2021-03-22T12:15:36.677" v="23" actId="700"/>
          <ac:spMkLst>
            <pc:docMk/>
            <pc:sldMk cId="1142395534" sldId="3201"/>
            <ac:spMk id="7" creationId="{0B63833E-186E-4414-B621-9FDAF4AAD9D8}"/>
          </ac:spMkLst>
        </pc:spChg>
        <pc:spChg chg="mod ord">
          <ac:chgData name="Quiros Araya, Gustavo (T RDA FOA AES-US)" userId="87a2443b-d0c9-4518-9ebc-d799baa37986" providerId="ADAL" clId="{3A4EEDF1-BB07-4895-84AB-D199BDD7075F}" dt="2021-03-22T12:15:36.677" v="23" actId="700"/>
          <ac:spMkLst>
            <pc:docMk/>
            <pc:sldMk cId="1142395534" sldId="3201"/>
            <ac:spMk id="8" creationId="{B74849D1-3EAF-4BC5-8038-DF6726098F44}"/>
          </ac:spMkLst>
        </pc:spChg>
        <pc:spChg chg="add mod ord">
          <ac:chgData name="Quiros Araya, Gustavo (T RDA FOA AES-US)" userId="87a2443b-d0c9-4518-9ebc-d799baa37986" providerId="ADAL" clId="{3A4EEDF1-BB07-4895-84AB-D199BDD7075F}" dt="2021-03-22T12:15:36.677" v="23" actId="700"/>
          <ac:spMkLst>
            <pc:docMk/>
            <pc:sldMk cId="1142395534" sldId="3201"/>
            <ac:spMk id="9" creationId="{2683ADD1-CAC3-44B5-8876-B8E96101288F}"/>
          </ac:spMkLst>
        </pc:spChg>
        <pc:spChg chg="add del mod ord">
          <ac:chgData name="Quiros Araya, Gustavo (T RDA FOA AES-US)" userId="87a2443b-d0c9-4518-9ebc-d799baa37986" providerId="ADAL" clId="{3A4EEDF1-BB07-4895-84AB-D199BDD7075F}" dt="2021-03-22T12:15:36.677" v="23" actId="700"/>
          <ac:spMkLst>
            <pc:docMk/>
            <pc:sldMk cId="1142395534" sldId="3201"/>
            <ac:spMk id="10" creationId="{80FFDCF3-9A79-43EF-B237-A8766D7933E0}"/>
          </ac:spMkLst>
        </pc:spChg>
        <pc:spChg chg="add del mod ord">
          <ac:chgData name="Quiros Araya, Gustavo (T RDA FOA AES-US)" userId="87a2443b-d0c9-4518-9ebc-d799baa37986" providerId="ADAL" clId="{3A4EEDF1-BB07-4895-84AB-D199BDD7075F}" dt="2021-03-22T12:15:36.677" v="23" actId="700"/>
          <ac:spMkLst>
            <pc:docMk/>
            <pc:sldMk cId="1142395534" sldId="3201"/>
            <ac:spMk id="11" creationId="{805849C8-139D-4382-B420-4AC096706180}"/>
          </ac:spMkLst>
        </pc:spChg>
        <pc:spChg chg="add del mod ord">
          <ac:chgData name="Quiros Araya, Gustavo (T RDA FOA AES-US)" userId="87a2443b-d0c9-4518-9ebc-d799baa37986" providerId="ADAL" clId="{3A4EEDF1-BB07-4895-84AB-D199BDD7075F}" dt="2021-03-22T12:23:18.497" v="40" actId="3680"/>
          <ac:spMkLst>
            <pc:docMk/>
            <pc:sldMk cId="1142395534" sldId="3201"/>
            <ac:spMk id="12" creationId="{DC20DF92-18EF-41E7-98DB-4EF232E1AF79}"/>
          </ac:spMkLst>
        </pc:spChg>
        <pc:graphicFrameChg chg="add mod ord modGraphic">
          <ac:chgData name="Quiros Araya, Gustavo (T RDA FOA AES-US)" userId="87a2443b-d0c9-4518-9ebc-d799baa37986" providerId="ADAL" clId="{3A4EEDF1-BB07-4895-84AB-D199BDD7075F}" dt="2021-03-22T13:44:03.321" v="780"/>
          <ac:graphicFrameMkLst>
            <pc:docMk/>
            <pc:sldMk cId="1142395534" sldId="3201"/>
            <ac:graphicFrameMk id="13" creationId="{97DF5231-9A29-4341-9A1D-241EA190901C}"/>
          </ac:graphicFrameMkLst>
        </pc:graphicFrameChg>
      </pc:sldChg>
      <pc:sldChg chg="modSp add del mod">
        <pc:chgData name="Quiros Araya, Gustavo (T RDA FOA AES-US)" userId="87a2443b-d0c9-4518-9ebc-d799baa37986" providerId="ADAL" clId="{3A4EEDF1-BB07-4895-84AB-D199BDD7075F}" dt="2021-03-22T12:32:10.565" v="179" actId="2696"/>
        <pc:sldMkLst>
          <pc:docMk/>
          <pc:sldMk cId="2585787005" sldId="3202"/>
        </pc:sldMkLst>
        <pc:graphicFrameChg chg="modGraphic">
          <ac:chgData name="Quiros Araya, Gustavo (T RDA FOA AES-US)" userId="87a2443b-d0c9-4518-9ebc-d799baa37986" providerId="ADAL" clId="{3A4EEDF1-BB07-4895-84AB-D199BDD7075F}" dt="2021-03-22T12:25:58.685" v="95" actId="20577"/>
          <ac:graphicFrameMkLst>
            <pc:docMk/>
            <pc:sldMk cId="2585787005" sldId="3202"/>
            <ac:graphicFrameMk id="13" creationId="{97DF5231-9A29-4341-9A1D-241EA190901C}"/>
          </ac:graphicFrameMkLst>
        </pc:graphicFrameChg>
      </pc:sldChg>
    </pc:docChg>
  </pc:docChgLst>
  <pc:docChgLst>
    <pc:chgData name="Deshpande, Mayuri (T RDA FOA PAE-US)" userId="307bd999-17dd-4997-b1e2-139127ad27ac" providerId="ADAL" clId="{E52CE785-BE8F-4039-A092-EE680265AEFD}"/>
    <pc:docChg chg="undo custSel addSld delSld modSld sldOrd modMainMaster">
      <pc:chgData name="Deshpande, Mayuri (T RDA FOA PAE-US)" userId="307bd999-17dd-4997-b1e2-139127ad27ac" providerId="ADAL" clId="{E52CE785-BE8F-4039-A092-EE680265AEFD}" dt="2021-08-13T05:16:03.602" v="2249" actId="20577"/>
      <pc:docMkLst>
        <pc:docMk/>
      </pc:docMkLst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295320917" sldId="270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1854409877" sldId="1859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3882935950" sldId="3202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793663221" sldId="3203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785048686" sldId="3205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4138422705" sldId="3208"/>
        </pc:sldMkLst>
      </pc:sldChg>
      <pc:sldChg chg="modSp mod">
        <pc:chgData name="Deshpande, Mayuri (T RDA FOA PAE-US)" userId="307bd999-17dd-4997-b1e2-139127ad27ac" providerId="ADAL" clId="{E52CE785-BE8F-4039-A092-EE680265AEFD}" dt="2021-08-13T05:16:03.602" v="2249" actId="20577"/>
        <pc:sldMkLst>
          <pc:docMk/>
          <pc:sldMk cId="1894407668" sldId="3209"/>
        </pc:sldMkLst>
        <pc:spChg chg="mod">
          <ac:chgData name="Deshpande, Mayuri (T RDA FOA PAE-US)" userId="307bd999-17dd-4997-b1e2-139127ad27ac" providerId="ADAL" clId="{E52CE785-BE8F-4039-A092-EE680265AEFD}" dt="2021-07-23T15:57:01.454" v="7" actId="403"/>
          <ac:spMkLst>
            <pc:docMk/>
            <pc:sldMk cId="1894407668" sldId="3209"/>
            <ac:spMk id="2" creationId="{DAB03F5A-A39F-4AC0-8800-3953C9A32342}"/>
          </ac:spMkLst>
        </pc:spChg>
        <pc:spChg chg="mod">
          <ac:chgData name="Deshpande, Mayuri (T RDA FOA PAE-US)" userId="307bd999-17dd-4997-b1e2-139127ad27ac" providerId="ADAL" clId="{E52CE785-BE8F-4039-A092-EE680265AEFD}" dt="2021-08-13T05:16:03.602" v="2249" actId="20577"/>
          <ac:spMkLst>
            <pc:docMk/>
            <pc:sldMk cId="1894407668" sldId="3209"/>
            <ac:spMk id="3" creationId="{CDD99E0C-5C36-40BC-A4C0-734D5DE8589D}"/>
          </ac:spMkLst>
        </pc:spChg>
      </pc:sldChg>
      <pc:sldChg chg="addSp modSp new mod">
        <pc:chgData name="Deshpande, Mayuri (T RDA FOA PAE-US)" userId="307bd999-17dd-4997-b1e2-139127ad27ac" providerId="ADAL" clId="{E52CE785-BE8F-4039-A092-EE680265AEFD}" dt="2021-08-13T05:15:19.811" v="2238" actId="20577"/>
        <pc:sldMkLst>
          <pc:docMk/>
          <pc:sldMk cId="1581728227" sldId="3210"/>
        </pc:sldMkLst>
        <pc:spChg chg="mod">
          <ac:chgData name="Deshpande, Mayuri (T RDA FOA PAE-US)" userId="307bd999-17dd-4997-b1e2-139127ad27ac" providerId="ADAL" clId="{E52CE785-BE8F-4039-A092-EE680265AEFD}" dt="2021-07-23T16:01:46.729" v="137" actId="20577"/>
          <ac:spMkLst>
            <pc:docMk/>
            <pc:sldMk cId="1581728227" sldId="3210"/>
            <ac:spMk id="2" creationId="{04979736-8E21-4A75-8BA0-A9F8DC50372A}"/>
          </ac:spMkLst>
        </pc:spChg>
        <pc:spChg chg="mod">
          <ac:chgData name="Deshpande, Mayuri (T RDA FOA PAE-US)" userId="307bd999-17dd-4997-b1e2-139127ad27ac" providerId="ADAL" clId="{E52CE785-BE8F-4039-A092-EE680265AEFD}" dt="2021-08-13T05:15:19.811" v="2238" actId="20577"/>
          <ac:spMkLst>
            <pc:docMk/>
            <pc:sldMk cId="1581728227" sldId="3210"/>
            <ac:spMk id="3" creationId="{8308D116-F8D0-4186-9564-E1DD6DC36207}"/>
          </ac:spMkLst>
        </pc:spChg>
        <pc:spChg chg="add mod">
          <ac:chgData name="Deshpande, Mayuri (T RDA FOA PAE-US)" userId="307bd999-17dd-4997-b1e2-139127ad27ac" providerId="ADAL" clId="{E52CE785-BE8F-4039-A092-EE680265AEFD}" dt="2021-07-23T16:05:49.385" v="185" actId="113"/>
          <ac:spMkLst>
            <pc:docMk/>
            <pc:sldMk cId="1581728227" sldId="3210"/>
            <ac:spMk id="11" creationId="{CBC4F1DC-76BC-4F4A-BC3E-D336C95C9FE9}"/>
          </ac:spMkLst>
        </pc:spChg>
        <pc:spChg chg="add mod">
          <ac:chgData name="Deshpande, Mayuri (T RDA FOA PAE-US)" userId="307bd999-17dd-4997-b1e2-139127ad27ac" providerId="ADAL" clId="{E52CE785-BE8F-4039-A092-EE680265AEFD}" dt="2021-07-23T16:06:17.041" v="194" actId="14100"/>
          <ac:spMkLst>
            <pc:docMk/>
            <pc:sldMk cId="1581728227" sldId="3210"/>
            <ac:spMk id="12" creationId="{138EAC21-5D44-436B-9462-44D035EACD09}"/>
          </ac:spMkLst>
        </pc:spChg>
        <pc:spChg chg="add mod">
          <ac:chgData name="Deshpande, Mayuri (T RDA FOA PAE-US)" userId="307bd999-17dd-4997-b1e2-139127ad27ac" providerId="ADAL" clId="{E52CE785-BE8F-4039-A092-EE680265AEFD}" dt="2021-07-23T16:06:35.858" v="200" actId="1076"/>
          <ac:spMkLst>
            <pc:docMk/>
            <pc:sldMk cId="1581728227" sldId="3210"/>
            <ac:spMk id="13" creationId="{5490AC88-09CF-4DC1-AD98-CD69713B5144}"/>
          </ac:spMkLst>
        </pc:spChg>
        <pc:spChg chg="add mod">
          <ac:chgData name="Deshpande, Mayuri (T RDA FOA PAE-US)" userId="307bd999-17dd-4997-b1e2-139127ad27ac" providerId="ADAL" clId="{E52CE785-BE8F-4039-A092-EE680265AEFD}" dt="2021-07-23T16:06:40.516" v="201" actId="1076"/>
          <ac:spMkLst>
            <pc:docMk/>
            <pc:sldMk cId="1581728227" sldId="3210"/>
            <ac:spMk id="14" creationId="{534E17A5-17C8-4AFD-8AEE-BA4C6930ED8A}"/>
          </ac:spMkLst>
        </pc:spChg>
        <pc:picChg chg="add mod">
          <ac:chgData name="Deshpande, Mayuri (T RDA FOA PAE-US)" userId="307bd999-17dd-4997-b1e2-139127ad27ac" providerId="ADAL" clId="{E52CE785-BE8F-4039-A092-EE680265AEFD}" dt="2021-07-23T16:02:19.164" v="142" actId="1076"/>
          <ac:picMkLst>
            <pc:docMk/>
            <pc:sldMk cId="1581728227" sldId="3210"/>
            <ac:picMk id="5" creationId="{92D4F4D9-C293-4002-830D-5B01DB21645A}"/>
          </ac:picMkLst>
        </pc:picChg>
        <pc:picChg chg="add mod">
          <ac:chgData name="Deshpande, Mayuri (T RDA FOA PAE-US)" userId="307bd999-17dd-4997-b1e2-139127ad27ac" providerId="ADAL" clId="{E52CE785-BE8F-4039-A092-EE680265AEFD}" dt="2021-07-23T16:02:40.511" v="151" actId="1076"/>
          <ac:picMkLst>
            <pc:docMk/>
            <pc:sldMk cId="1581728227" sldId="3210"/>
            <ac:picMk id="1026" creationId="{BF142B39-3801-4C3F-B013-895F34F55674}"/>
          </ac:picMkLst>
        </pc:picChg>
        <pc:picChg chg="add mod">
          <ac:chgData name="Deshpande, Mayuri (T RDA FOA PAE-US)" userId="307bd999-17dd-4997-b1e2-139127ad27ac" providerId="ADAL" clId="{E52CE785-BE8F-4039-A092-EE680265AEFD}" dt="2021-07-23T16:06:19.780" v="195" actId="1076"/>
          <ac:picMkLst>
            <pc:docMk/>
            <pc:sldMk cId="1581728227" sldId="3210"/>
            <ac:picMk id="1028" creationId="{BF396128-E323-42CE-AE0D-069F2C535952}"/>
          </ac:picMkLst>
        </pc:picChg>
        <pc:picChg chg="add mod">
          <ac:chgData name="Deshpande, Mayuri (T RDA FOA PAE-US)" userId="307bd999-17dd-4997-b1e2-139127ad27ac" providerId="ADAL" clId="{E52CE785-BE8F-4039-A092-EE680265AEFD}" dt="2021-07-23T16:06:31.732" v="199" actId="1076"/>
          <ac:picMkLst>
            <pc:docMk/>
            <pc:sldMk cId="1581728227" sldId="3210"/>
            <ac:picMk id="1030" creationId="{79D9BD30-7782-437B-8359-F94699D8DE1A}"/>
          </ac:picMkLst>
        </pc:picChg>
        <pc:picChg chg="add mod">
          <ac:chgData name="Deshpande, Mayuri (T RDA FOA PAE-US)" userId="307bd999-17dd-4997-b1e2-139127ad27ac" providerId="ADAL" clId="{E52CE785-BE8F-4039-A092-EE680265AEFD}" dt="2021-07-23T16:06:22.848" v="196" actId="1076"/>
          <ac:picMkLst>
            <pc:docMk/>
            <pc:sldMk cId="1581728227" sldId="3210"/>
            <ac:picMk id="1032" creationId="{04251E48-3A8A-4B64-A804-4AD92FCD147D}"/>
          </ac:picMkLst>
        </pc:picChg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3487715147" sldId="3210"/>
        </pc:sldMkLst>
      </pc:sldChg>
      <pc:sldChg chg="addSp delSp modSp new mod">
        <pc:chgData name="Deshpande, Mayuri (T RDA FOA PAE-US)" userId="307bd999-17dd-4997-b1e2-139127ad27ac" providerId="ADAL" clId="{E52CE785-BE8F-4039-A092-EE680265AEFD}" dt="2021-08-13T05:15:35.446" v="2241" actId="20577"/>
        <pc:sldMkLst>
          <pc:docMk/>
          <pc:sldMk cId="239217482" sldId="3211"/>
        </pc:sldMkLst>
        <pc:spChg chg="mod">
          <ac:chgData name="Deshpande, Mayuri (T RDA FOA PAE-US)" userId="307bd999-17dd-4997-b1e2-139127ad27ac" providerId="ADAL" clId="{E52CE785-BE8F-4039-A092-EE680265AEFD}" dt="2021-07-23T16:09:14.542" v="217" actId="20577"/>
          <ac:spMkLst>
            <pc:docMk/>
            <pc:sldMk cId="239217482" sldId="3211"/>
            <ac:spMk id="2" creationId="{EA335581-E017-4772-ADF9-3FE27A1EFD6E}"/>
          </ac:spMkLst>
        </pc:spChg>
        <pc:spChg chg="mod">
          <ac:chgData name="Deshpande, Mayuri (T RDA FOA PAE-US)" userId="307bd999-17dd-4997-b1e2-139127ad27ac" providerId="ADAL" clId="{E52CE785-BE8F-4039-A092-EE680265AEFD}" dt="2021-08-13T05:15:35.446" v="2241" actId="20577"/>
          <ac:spMkLst>
            <pc:docMk/>
            <pc:sldMk cId="239217482" sldId="3211"/>
            <ac:spMk id="3" creationId="{D335123F-23BF-45B6-B449-083AB9BF749A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5" creationId="{23E458CD-EA33-404F-9557-61458051BD38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6" creationId="{6C70D906-C98A-4FA8-BC38-B93B3CAD63D8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7" creationId="{888F1FE2-A061-4C9A-9B9E-18C54D5799EB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8" creationId="{829674B1-45C1-4FE8-9FAD-E9AB42E0D20D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9" creationId="{438C84FF-ED28-41D3-A990-51F504690BC5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10" creationId="{CFE495CF-682F-408E-B025-9110A9678025}"/>
          </ac:spMkLst>
        </pc:spChg>
        <pc:spChg chg="add del mod">
          <ac:chgData name="Deshpande, Mayuri (T RDA FOA PAE-US)" userId="307bd999-17dd-4997-b1e2-139127ad27ac" providerId="ADAL" clId="{E52CE785-BE8F-4039-A092-EE680265AEFD}" dt="2021-08-13T04:50:52.962" v="1447" actId="478"/>
          <ac:spMkLst>
            <pc:docMk/>
            <pc:sldMk cId="239217482" sldId="3211"/>
            <ac:spMk id="11" creationId="{75A8A37B-9AC3-46A5-914D-86B1AB5AACA6}"/>
          </ac:spMkLst>
        </pc:spChg>
        <pc:spChg chg="add del mod">
          <ac:chgData name="Deshpande, Mayuri (T RDA FOA PAE-US)" userId="307bd999-17dd-4997-b1e2-139127ad27ac" providerId="ADAL" clId="{E52CE785-BE8F-4039-A092-EE680265AEFD}" dt="2021-08-13T04:54:03.329" v="1516" actId="478"/>
          <ac:spMkLst>
            <pc:docMk/>
            <pc:sldMk cId="239217482" sldId="3211"/>
            <ac:spMk id="12" creationId="{07D79D12-870D-44B0-B6F8-65C62D6A8157}"/>
          </ac:spMkLst>
        </pc:spChg>
        <pc:spChg chg="add del mod">
          <ac:chgData name="Deshpande, Mayuri (T RDA FOA PAE-US)" userId="307bd999-17dd-4997-b1e2-139127ad27ac" providerId="ADAL" clId="{E52CE785-BE8F-4039-A092-EE680265AEFD}" dt="2021-08-13T04:54:03.329" v="1516" actId="478"/>
          <ac:spMkLst>
            <pc:docMk/>
            <pc:sldMk cId="239217482" sldId="3211"/>
            <ac:spMk id="13" creationId="{BC318265-565C-4169-81AF-88717A2022BC}"/>
          </ac:spMkLst>
        </pc:spChg>
        <pc:spChg chg="add del mod">
          <ac:chgData name="Deshpande, Mayuri (T RDA FOA PAE-US)" userId="307bd999-17dd-4997-b1e2-139127ad27ac" providerId="ADAL" clId="{E52CE785-BE8F-4039-A092-EE680265AEFD}" dt="2021-08-13T04:54:03.329" v="1516" actId="478"/>
          <ac:spMkLst>
            <pc:docMk/>
            <pc:sldMk cId="239217482" sldId="3211"/>
            <ac:spMk id="14" creationId="{F2519E03-0546-495B-8666-47467D2B3F88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15" creationId="{7667B784-C6BC-484D-8F57-DE57F0D052FB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16" creationId="{556929B4-7035-429A-8E44-A2AB370C6F35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17" creationId="{7C5D11F8-CEDF-4CB5-BFC1-12C3E5A1F5AB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18" creationId="{F1A1DBC7-365E-4399-86E8-84ED894A216D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19" creationId="{862E27C2-B929-45CF-A6CD-B0D71B0A3A19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20" creationId="{A16575A8-1767-48DC-9C64-B408E9029448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43:03.786" v="581" actId="21"/>
          <ac:spMkLst>
            <pc:docMk/>
            <pc:sldMk cId="239217482" sldId="3211"/>
            <ac:spMk id="21" creationId="{EB64DA84-6E87-429E-9E82-F44468EE6FF2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22" creationId="{463F6DDF-2FEB-40D4-B8EF-549307FA7420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23" creationId="{DC816294-0EF5-4087-8CAC-7D6BB86F4D92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24" creationId="{514E2102-8657-4BA9-9ED3-156043FE99AB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43:24.174" v="590" actId="478"/>
          <ac:spMkLst>
            <pc:docMk/>
            <pc:sldMk cId="239217482" sldId="3211"/>
            <ac:spMk id="25" creationId="{7D212A4C-4AA6-4B05-8965-99EA856EE5AC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26" creationId="{CCC702A2-E409-4A92-8F06-F69876C31B69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43:26.579" v="591" actId="478"/>
          <ac:spMkLst>
            <pc:docMk/>
            <pc:sldMk cId="239217482" sldId="3211"/>
            <ac:spMk id="27" creationId="{1C55554A-FB77-444E-808C-7111BAC83332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43:24.174" v="590" actId="478"/>
          <ac:spMkLst>
            <pc:docMk/>
            <pc:sldMk cId="239217482" sldId="3211"/>
            <ac:spMk id="28" creationId="{AA016BE5-B456-492D-B369-4FAADC28FCF2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29" creationId="{6DEB3B95-0EF1-4527-8C7F-81D6E356E50D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30" creationId="{59D16B6A-DDEB-43AF-9218-7220D0B149AB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43:41.587" v="596" actId="478"/>
          <ac:spMkLst>
            <pc:docMk/>
            <pc:sldMk cId="239217482" sldId="3211"/>
            <ac:spMk id="31" creationId="{A7BF0EB9-F7EC-46EC-8B03-0F532B5CB63D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32" creationId="{3E904F7B-8C6C-409D-B11B-9C05443144A9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33" creationId="{A0324201-A27B-4BE1-9C18-8368095385E4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34" creationId="{10E0CC6E-C1DE-4639-8B95-79B78260A273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35" creationId="{6506823F-3F0E-485D-9C92-C6F1A90BE236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36" creationId="{6A2C003A-E01C-4495-8423-8BDC939193B9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37" creationId="{C62767B5-6A9B-4CB4-9EF4-93DD8B6903F9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38" creationId="{62F2C8CA-F231-4CB6-ACBC-8ED22DBFF120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39" creationId="{B564B40F-A15F-49B8-9B11-B7342ADD39AD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40" creationId="{FE7F4680-EB6F-4DCF-A092-032A5E918634}"/>
          </ac:spMkLst>
        </pc:spChg>
        <pc:spChg chg="add mod">
          <ac:chgData name="Deshpande, Mayuri (T RDA FOA PAE-US)" userId="307bd999-17dd-4997-b1e2-139127ad27ac" providerId="ADAL" clId="{E52CE785-BE8F-4039-A092-EE680265AEFD}" dt="2021-08-13T04:50:50.368" v="1446" actId="1076"/>
          <ac:spMkLst>
            <pc:docMk/>
            <pc:sldMk cId="239217482" sldId="3211"/>
            <ac:spMk id="41" creationId="{AE653447-BC5B-48A8-8F83-61EE195BD6FA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46:17.518" v="603" actId="478"/>
          <ac:spMkLst>
            <pc:docMk/>
            <pc:sldMk cId="239217482" sldId="3211"/>
            <ac:spMk id="42" creationId="{D84238FD-A9F8-48FC-BC3B-80CD10401CC6}"/>
          </ac:spMkLst>
        </pc:spChg>
        <pc:spChg chg="add del mod">
          <ac:chgData name="Deshpande, Mayuri (T RDA FOA PAE-US)" userId="307bd999-17dd-4997-b1e2-139127ad27ac" providerId="ADAL" clId="{E52CE785-BE8F-4039-A092-EE680265AEFD}" dt="2021-08-13T04:50:54.751" v="1448" actId="478"/>
          <ac:spMkLst>
            <pc:docMk/>
            <pc:sldMk cId="239217482" sldId="3211"/>
            <ac:spMk id="43" creationId="{54E4B33A-3DF5-4B0A-90CC-57BC8DD52250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46:24.589" v="606" actId="478"/>
          <ac:spMkLst>
            <pc:docMk/>
            <pc:sldMk cId="239217482" sldId="3211"/>
            <ac:spMk id="44" creationId="{217710E4-1084-4E7A-A577-FADF6F29B5EC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46:24.589" v="606" actId="478"/>
          <ac:spMkLst>
            <pc:docMk/>
            <pc:sldMk cId="239217482" sldId="3211"/>
            <ac:spMk id="45" creationId="{5AC04A99-2E8C-4614-AFF8-05A8A25B8899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46:24.589" v="606" actId="478"/>
          <ac:spMkLst>
            <pc:docMk/>
            <pc:sldMk cId="239217482" sldId="3211"/>
            <ac:spMk id="46" creationId="{86FFB82B-92EA-4E99-B968-1AF18E8C3882}"/>
          </ac:spMkLst>
        </pc:spChg>
        <pc:spChg chg="add mod">
          <ac:chgData name="Deshpande, Mayuri (T RDA FOA PAE-US)" userId="307bd999-17dd-4997-b1e2-139127ad27ac" providerId="ADAL" clId="{E52CE785-BE8F-4039-A092-EE680265AEFD}" dt="2021-08-13T04:47:41.754" v="1424" actId="21"/>
          <ac:spMkLst>
            <pc:docMk/>
            <pc:sldMk cId="239217482" sldId="3211"/>
            <ac:spMk id="48" creationId="{63C6E96B-82BC-4B9C-BD42-9D02C87F1ABC}"/>
          </ac:spMkLst>
        </pc:spChg>
        <pc:spChg chg="add del mod">
          <ac:chgData name="Deshpande, Mayuri (T RDA FOA PAE-US)" userId="307bd999-17dd-4997-b1e2-139127ad27ac" providerId="ADAL" clId="{E52CE785-BE8F-4039-A092-EE680265AEFD}" dt="2021-07-23T16:57:00.249" v="827" actId="478"/>
          <ac:spMkLst>
            <pc:docMk/>
            <pc:sldMk cId="239217482" sldId="3211"/>
            <ac:spMk id="50" creationId="{1E480038-73DD-409B-BF08-563B9A7C3920}"/>
          </ac:spMkLst>
        </pc:spChg>
        <pc:spChg chg="add del">
          <ac:chgData name="Deshpande, Mayuri (T RDA FOA PAE-US)" userId="307bd999-17dd-4997-b1e2-139127ad27ac" providerId="ADAL" clId="{E52CE785-BE8F-4039-A092-EE680265AEFD}" dt="2021-07-23T16:55:11.588" v="814" actId="478"/>
          <ac:spMkLst>
            <pc:docMk/>
            <pc:sldMk cId="239217482" sldId="3211"/>
            <ac:spMk id="52" creationId="{76372ECC-A84B-4A09-9096-3AF0BFFFCC93}"/>
          </ac:spMkLst>
        </pc:spChg>
        <pc:graphicFrameChg chg="add mod modGraphic">
          <ac:chgData name="Deshpande, Mayuri (T RDA FOA PAE-US)" userId="307bd999-17dd-4997-b1e2-139127ad27ac" providerId="ADAL" clId="{E52CE785-BE8F-4039-A092-EE680265AEFD}" dt="2021-08-13T04:53:52.152" v="1515" actId="20577"/>
          <ac:graphicFrameMkLst>
            <pc:docMk/>
            <pc:sldMk cId="239217482" sldId="3211"/>
            <ac:graphicFrameMk id="53" creationId="{B1EF0ACC-C783-47B2-991C-75E0AFC88419}"/>
          </ac:graphicFrameMkLst>
        </pc:graphicFrameChg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3424085617" sldId="3211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241235120" sldId="3212"/>
        </pc:sldMkLst>
      </pc:sldChg>
      <pc:sldChg chg="addSp modSp new mod">
        <pc:chgData name="Deshpande, Mayuri (T RDA FOA PAE-US)" userId="307bd999-17dd-4997-b1e2-139127ad27ac" providerId="ADAL" clId="{E52CE785-BE8F-4039-A092-EE680265AEFD}" dt="2021-08-13T05:15:26.302" v="2239" actId="20577"/>
        <pc:sldMkLst>
          <pc:docMk/>
          <pc:sldMk cId="1426562392" sldId="3212"/>
        </pc:sldMkLst>
        <pc:spChg chg="mod">
          <ac:chgData name="Deshpande, Mayuri (T RDA FOA PAE-US)" userId="307bd999-17dd-4997-b1e2-139127ad27ac" providerId="ADAL" clId="{E52CE785-BE8F-4039-A092-EE680265AEFD}" dt="2021-07-23T16:50:45.980" v="702" actId="20577"/>
          <ac:spMkLst>
            <pc:docMk/>
            <pc:sldMk cId="1426562392" sldId="3212"/>
            <ac:spMk id="2" creationId="{DAD3AD44-AACA-48F3-A0F6-AE59702A46F9}"/>
          </ac:spMkLst>
        </pc:spChg>
        <pc:spChg chg="mod">
          <ac:chgData name="Deshpande, Mayuri (T RDA FOA PAE-US)" userId="307bd999-17dd-4997-b1e2-139127ad27ac" providerId="ADAL" clId="{E52CE785-BE8F-4039-A092-EE680265AEFD}" dt="2021-08-13T05:15:26.302" v="2239" actId="20577"/>
          <ac:spMkLst>
            <pc:docMk/>
            <pc:sldMk cId="1426562392" sldId="3212"/>
            <ac:spMk id="3" creationId="{23A0D918-E1EF-47A2-9BF6-0B50ECBC77D4}"/>
          </ac:spMkLst>
        </pc:spChg>
        <pc:spChg chg="add mod">
          <ac:chgData name="Deshpande, Mayuri (T RDA FOA PAE-US)" userId="307bd999-17dd-4997-b1e2-139127ad27ac" providerId="ADAL" clId="{E52CE785-BE8F-4039-A092-EE680265AEFD}" dt="2021-07-23T16:31:24.087" v="274" actId="20577"/>
          <ac:spMkLst>
            <pc:docMk/>
            <pc:sldMk cId="1426562392" sldId="3212"/>
            <ac:spMk id="6" creationId="{8C5C7224-040C-455B-BFDF-B66DF16AEECA}"/>
          </ac:spMkLst>
        </pc:spChg>
        <pc:spChg chg="add mod">
          <ac:chgData name="Deshpande, Mayuri (T RDA FOA PAE-US)" userId="307bd999-17dd-4997-b1e2-139127ad27ac" providerId="ADAL" clId="{E52CE785-BE8F-4039-A092-EE680265AEFD}" dt="2021-07-23T16:49:45.386" v="653" actId="20577"/>
          <ac:spMkLst>
            <pc:docMk/>
            <pc:sldMk cId="1426562392" sldId="3212"/>
            <ac:spMk id="9" creationId="{A9F56553-6849-45F8-BCA2-B019F911AF39}"/>
          </ac:spMkLst>
        </pc:spChg>
        <pc:graphicFrameChg chg="add mod modGraphic">
          <ac:chgData name="Deshpande, Mayuri (T RDA FOA PAE-US)" userId="307bd999-17dd-4997-b1e2-139127ad27ac" providerId="ADAL" clId="{E52CE785-BE8F-4039-A092-EE680265AEFD}" dt="2021-08-13T05:11:13.825" v="2106" actId="108"/>
          <ac:graphicFrameMkLst>
            <pc:docMk/>
            <pc:sldMk cId="1426562392" sldId="3212"/>
            <ac:graphicFrameMk id="7" creationId="{4BA64D99-CE21-43D5-B978-2C2666BF3D55}"/>
          </ac:graphicFrameMkLst>
        </pc:graphicFrameChg>
        <pc:picChg chg="add mod">
          <ac:chgData name="Deshpande, Mayuri (T RDA FOA PAE-US)" userId="307bd999-17dd-4997-b1e2-139127ad27ac" providerId="ADAL" clId="{E52CE785-BE8F-4039-A092-EE680265AEFD}" dt="2021-07-23T16:21:37.436" v="238" actId="14100"/>
          <ac:picMkLst>
            <pc:docMk/>
            <pc:sldMk cId="1426562392" sldId="3212"/>
            <ac:picMk id="5" creationId="{22ED42DF-82A5-45C3-A3ED-A98489446EAC}"/>
          </ac:picMkLst>
        </pc:picChg>
      </pc:sldChg>
      <pc:sldChg chg="addSp modSp new mod">
        <pc:chgData name="Deshpande, Mayuri (T RDA FOA PAE-US)" userId="307bd999-17dd-4997-b1e2-139127ad27ac" providerId="ADAL" clId="{E52CE785-BE8F-4039-A092-EE680265AEFD}" dt="2021-08-13T05:15:30.941" v="2240" actId="20577"/>
        <pc:sldMkLst>
          <pc:docMk/>
          <pc:sldMk cId="3228816083" sldId="3213"/>
        </pc:sldMkLst>
        <pc:spChg chg="mod">
          <ac:chgData name="Deshpande, Mayuri (T RDA FOA PAE-US)" userId="307bd999-17dd-4997-b1e2-139127ad27ac" providerId="ADAL" clId="{E52CE785-BE8F-4039-A092-EE680265AEFD}" dt="2021-07-23T16:32:00.197" v="324" actId="20577"/>
          <ac:spMkLst>
            <pc:docMk/>
            <pc:sldMk cId="3228816083" sldId="3213"/>
            <ac:spMk id="2" creationId="{EC964CED-D8C1-4988-ACD6-65AC55731F9F}"/>
          </ac:spMkLst>
        </pc:spChg>
        <pc:spChg chg="mod">
          <ac:chgData name="Deshpande, Mayuri (T RDA FOA PAE-US)" userId="307bd999-17dd-4997-b1e2-139127ad27ac" providerId="ADAL" clId="{E52CE785-BE8F-4039-A092-EE680265AEFD}" dt="2021-08-13T05:15:30.941" v="2240" actId="20577"/>
          <ac:spMkLst>
            <pc:docMk/>
            <pc:sldMk cId="3228816083" sldId="3213"/>
            <ac:spMk id="3" creationId="{D8452633-D16B-418D-96F4-A85C5D739C6B}"/>
          </ac:spMkLst>
        </pc:spChg>
        <pc:spChg chg="add mod">
          <ac:chgData name="Deshpande, Mayuri (T RDA FOA PAE-US)" userId="307bd999-17dd-4997-b1e2-139127ad27ac" providerId="ADAL" clId="{E52CE785-BE8F-4039-A092-EE680265AEFD}" dt="2021-07-23T16:36:38.496" v="401" actId="20577"/>
          <ac:spMkLst>
            <pc:docMk/>
            <pc:sldMk cId="3228816083" sldId="3213"/>
            <ac:spMk id="6" creationId="{19495226-1696-4B44-A23A-40E6A14A68D2}"/>
          </ac:spMkLst>
        </pc:spChg>
        <pc:spChg chg="add mod">
          <ac:chgData name="Deshpande, Mayuri (T RDA FOA PAE-US)" userId="307bd999-17dd-4997-b1e2-139127ad27ac" providerId="ADAL" clId="{E52CE785-BE8F-4039-A092-EE680265AEFD}" dt="2021-07-23T16:39:53.266" v="523" actId="14100"/>
          <ac:spMkLst>
            <pc:docMk/>
            <pc:sldMk cId="3228816083" sldId="3213"/>
            <ac:spMk id="7" creationId="{B4C6237F-3725-4CCD-B493-528696EF2C4E}"/>
          </ac:spMkLst>
        </pc:spChg>
        <pc:spChg chg="add mod">
          <ac:chgData name="Deshpande, Mayuri (T RDA FOA PAE-US)" userId="307bd999-17dd-4997-b1e2-139127ad27ac" providerId="ADAL" clId="{E52CE785-BE8F-4039-A092-EE680265AEFD}" dt="2021-07-23T16:39:56.076" v="524" actId="1076"/>
          <ac:spMkLst>
            <pc:docMk/>
            <pc:sldMk cId="3228816083" sldId="3213"/>
            <ac:spMk id="8" creationId="{00CD75E9-FDE1-429C-B614-2B68E3E5B915}"/>
          </ac:spMkLst>
        </pc:spChg>
        <pc:spChg chg="add mod">
          <ac:chgData name="Deshpande, Mayuri (T RDA FOA PAE-US)" userId="307bd999-17dd-4997-b1e2-139127ad27ac" providerId="ADAL" clId="{E52CE785-BE8F-4039-A092-EE680265AEFD}" dt="2021-07-23T16:39:59.074" v="525" actId="1076"/>
          <ac:spMkLst>
            <pc:docMk/>
            <pc:sldMk cId="3228816083" sldId="3213"/>
            <ac:spMk id="9" creationId="{78A186EA-C00B-48BB-B88D-AF091A2F4358}"/>
          </ac:spMkLst>
        </pc:spChg>
        <pc:spChg chg="add mod">
          <ac:chgData name="Deshpande, Mayuri (T RDA FOA PAE-US)" userId="307bd999-17dd-4997-b1e2-139127ad27ac" providerId="ADAL" clId="{E52CE785-BE8F-4039-A092-EE680265AEFD}" dt="2021-07-23T16:40:03.557" v="526" actId="1076"/>
          <ac:spMkLst>
            <pc:docMk/>
            <pc:sldMk cId="3228816083" sldId="3213"/>
            <ac:spMk id="10" creationId="{7B7A31A0-1FBF-41CD-8DD0-0F2F29EDC9E2}"/>
          </ac:spMkLst>
        </pc:spChg>
        <pc:graphicFrameChg chg="add mod modGraphic">
          <ac:chgData name="Deshpande, Mayuri (T RDA FOA PAE-US)" userId="307bd999-17dd-4997-b1e2-139127ad27ac" providerId="ADAL" clId="{E52CE785-BE8F-4039-A092-EE680265AEFD}" dt="2021-08-13T05:12:30.870" v="2111" actId="108"/>
          <ac:graphicFrameMkLst>
            <pc:docMk/>
            <pc:sldMk cId="3228816083" sldId="3213"/>
            <ac:graphicFrameMk id="5" creationId="{A623FA28-5270-4A82-8544-F23AA13A6094}"/>
          </ac:graphicFrameMkLst>
        </pc:graphicFrameChg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4279896161" sldId="3213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313039052" sldId="3214"/>
        </pc:sldMkLst>
      </pc:sldChg>
      <pc:sldChg chg="addSp delSp modSp new mod ord">
        <pc:chgData name="Deshpande, Mayuri (T RDA FOA PAE-US)" userId="307bd999-17dd-4997-b1e2-139127ad27ac" providerId="ADAL" clId="{E52CE785-BE8F-4039-A092-EE680265AEFD}" dt="2021-08-13T05:15:40.137" v="2242" actId="20577"/>
        <pc:sldMkLst>
          <pc:docMk/>
          <pc:sldMk cId="461923985" sldId="3214"/>
        </pc:sldMkLst>
        <pc:spChg chg="mod">
          <ac:chgData name="Deshpande, Mayuri (T RDA FOA PAE-US)" userId="307bd999-17dd-4997-b1e2-139127ad27ac" providerId="ADAL" clId="{E52CE785-BE8F-4039-A092-EE680265AEFD}" dt="2021-07-23T17:14:28.187" v="1273" actId="6549"/>
          <ac:spMkLst>
            <pc:docMk/>
            <pc:sldMk cId="461923985" sldId="3214"/>
            <ac:spMk id="2" creationId="{5ED80551-94E3-4FE0-B7A8-49DB537EC8AF}"/>
          </ac:spMkLst>
        </pc:spChg>
        <pc:spChg chg="mod">
          <ac:chgData name="Deshpande, Mayuri (T RDA FOA PAE-US)" userId="307bd999-17dd-4997-b1e2-139127ad27ac" providerId="ADAL" clId="{E52CE785-BE8F-4039-A092-EE680265AEFD}" dt="2021-08-13T05:15:40.137" v="2242" actId="20577"/>
          <ac:spMkLst>
            <pc:docMk/>
            <pc:sldMk cId="461923985" sldId="3214"/>
            <ac:spMk id="3" creationId="{03C76BA8-7197-4F29-994B-EE1569DB691D}"/>
          </ac:spMkLst>
        </pc:spChg>
        <pc:spChg chg="add del mod">
          <ac:chgData name="Deshpande, Mayuri (T RDA FOA PAE-US)" userId="307bd999-17dd-4997-b1e2-139127ad27ac" providerId="ADAL" clId="{E52CE785-BE8F-4039-A092-EE680265AEFD}" dt="2021-07-23T17:08:22.312" v="926" actId="478"/>
          <ac:spMkLst>
            <pc:docMk/>
            <pc:sldMk cId="461923985" sldId="3214"/>
            <ac:spMk id="7" creationId="{A8B6F250-8397-4FAF-85FA-3C1778F481BB}"/>
          </ac:spMkLst>
        </pc:spChg>
        <pc:spChg chg="add mod">
          <ac:chgData name="Deshpande, Mayuri (T RDA FOA PAE-US)" userId="307bd999-17dd-4997-b1e2-139127ad27ac" providerId="ADAL" clId="{E52CE785-BE8F-4039-A092-EE680265AEFD}" dt="2021-07-23T17:11:39.124" v="1032" actId="1076"/>
          <ac:spMkLst>
            <pc:docMk/>
            <pc:sldMk cId="461923985" sldId="3214"/>
            <ac:spMk id="8" creationId="{2C5533E7-CF24-4D58-9F79-EF104DDAEDDE}"/>
          </ac:spMkLst>
        </pc:spChg>
        <pc:spChg chg="add">
          <ac:chgData name="Deshpande, Mayuri (T RDA FOA PAE-US)" userId="307bd999-17dd-4997-b1e2-139127ad27ac" providerId="ADAL" clId="{E52CE785-BE8F-4039-A092-EE680265AEFD}" dt="2021-07-23T17:08:23.653" v="927" actId="22"/>
          <ac:spMkLst>
            <pc:docMk/>
            <pc:sldMk cId="461923985" sldId="3214"/>
            <ac:spMk id="9" creationId="{A84B1237-19D9-4C32-8706-6F1A6BE3F217}"/>
          </ac:spMkLst>
        </pc:spChg>
        <pc:spChg chg="add mod">
          <ac:chgData name="Deshpande, Mayuri (T RDA FOA PAE-US)" userId="307bd999-17dd-4997-b1e2-139127ad27ac" providerId="ADAL" clId="{E52CE785-BE8F-4039-A092-EE680265AEFD}" dt="2021-07-23T17:11:30.558" v="1030" actId="1076"/>
          <ac:spMkLst>
            <pc:docMk/>
            <pc:sldMk cId="461923985" sldId="3214"/>
            <ac:spMk id="10" creationId="{4A392D50-AC76-4CF1-A8F4-19F7B16FE43B}"/>
          </ac:spMkLst>
        </pc:spChg>
        <pc:spChg chg="add mod">
          <ac:chgData name="Deshpande, Mayuri (T RDA FOA PAE-US)" userId="307bd999-17dd-4997-b1e2-139127ad27ac" providerId="ADAL" clId="{E52CE785-BE8F-4039-A092-EE680265AEFD}" dt="2021-07-23T17:11:30.558" v="1030" actId="1076"/>
          <ac:spMkLst>
            <pc:docMk/>
            <pc:sldMk cId="461923985" sldId="3214"/>
            <ac:spMk id="11" creationId="{69991EB2-6BF8-4E84-AD16-2BC3B44D6ED9}"/>
          </ac:spMkLst>
        </pc:spChg>
        <pc:spChg chg="add mod">
          <ac:chgData name="Deshpande, Mayuri (T RDA FOA PAE-US)" userId="307bd999-17dd-4997-b1e2-139127ad27ac" providerId="ADAL" clId="{E52CE785-BE8F-4039-A092-EE680265AEFD}" dt="2021-07-23T17:11:30.558" v="1030" actId="1076"/>
          <ac:spMkLst>
            <pc:docMk/>
            <pc:sldMk cId="461923985" sldId="3214"/>
            <ac:spMk id="13" creationId="{16182257-DEE2-4C06-9A67-DEE0DDBAC0D3}"/>
          </ac:spMkLst>
        </pc:spChg>
        <pc:spChg chg="add mod">
          <ac:chgData name="Deshpande, Mayuri (T RDA FOA PAE-US)" userId="307bd999-17dd-4997-b1e2-139127ad27ac" providerId="ADAL" clId="{E52CE785-BE8F-4039-A092-EE680265AEFD}" dt="2021-08-13T04:54:47.853" v="1547" actId="20577"/>
          <ac:spMkLst>
            <pc:docMk/>
            <pc:sldMk cId="461923985" sldId="3214"/>
            <ac:spMk id="22" creationId="{0B480071-9112-4E63-B0D4-54C4BB9C1A13}"/>
          </ac:spMkLst>
        </pc:spChg>
        <pc:picChg chg="add mod">
          <ac:chgData name="Deshpande, Mayuri (T RDA FOA PAE-US)" userId="307bd999-17dd-4997-b1e2-139127ad27ac" providerId="ADAL" clId="{E52CE785-BE8F-4039-A092-EE680265AEFD}" dt="2021-07-23T17:06:17.080" v="923" actId="1076"/>
          <ac:picMkLst>
            <pc:docMk/>
            <pc:sldMk cId="461923985" sldId="3214"/>
            <ac:picMk id="4098" creationId="{CC6CE548-0B47-4884-8FD1-E7A2D77DF132}"/>
          </ac:picMkLst>
        </pc:picChg>
        <pc:cxnChg chg="add mod">
          <ac:chgData name="Deshpande, Mayuri (T RDA FOA PAE-US)" userId="307bd999-17dd-4997-b1e2-139127ad27ac" providerId="ADAL" clId="{E52CE785-BE8F-4039-A092-EE680265AEFD}" dt="2021-07-23T17:11:39.124" v="1032" actId="1076"/>
          <ac:cxnSpMkLst>
            <pc:docMk/>
            <pc:sldMk cId="461923985" sldId="3214"/>
            <ac:cxnSpMk id="14" creationId="{A53B0D27-DEDB-4A83-B044-BC5D735906E0}"/>
          </ac:cxnSpMkLst>
        </pc:cxnChg>
        <pc:cxnChg chg="add mod">
          <ac:chgData name="Deshpande, Mayuri (T RDA FOA PAE-US)" userId="307bd999-17dd-4997-b1e2-139127ad27ac" providerId="ADAL" clId="{E52CE785-BE8F-4039-A092-EE680265AEFD}" dt="2021-07-23T17:11:30.558" v="1030" actId="1076"/>
          <ac:cxnSpMkLst>
            <pc:docMk/>
            <pc:sldMk cId="461923985" sldId="3214"/>
            <ac:cxnSpMk id="17" creationId="{4E3E0169-512F-47C7-8CAE-EDE51DB6BD38}"/>
          </ac:cxnSpMkLst>
        </pc:cxnChg>
      </pc:sldChg>
      <pc:sldChg chg="addSp delSp modSp new mod">
        <pc:chgData name="Deshpande, Mayuri (T RDA FOA PAE-US)" userId="307bd999-17dd-4997-b1e2-139127ad27ac" providerId="ADAL" clId="{E52CE785-BE8F-4039-A092-EE680265AEFD}" dt="2021-08-13T05:15:44.869" v="2243" actId="20577"/>
        <pc:sldMkLst>
          <pc:docMk/>
          <pc:sldMk cId="3960022030" sldId="3215"/>
        </pc:sldMkLst>
        <pc:spChg chg="mod">
          <ac:chgData name="Deshpande, Mayuri (T RDA FOA PAE-US)" userId="307bd999-17dd-4997-b1e2-139127ad27ac" providerId="ADAL" clId="{E52CE785-BE8F-4039-A092-EE680265AEFD}" dt="2021-08-13T04:43:25.307" v="1357" actId="20577"/>
          <ac:spMkLst>
            <pc:docMk/>
            <pc:sldMk cId="3960022030" sldId="3215"/>
            <ac:spMk id="2" creationId="{4820ED04-A344-44FC-BE9A-032C5DD00AA1}"/>
          </ac:spMkLst>
        </pc:spChg>
        <pc:spChg chg="mod">
          <ac:chgData name="Deshpande, Mayuri (T RDA FOA PAE-US)" userId="307bd999-17dd-4997-b1e2-139127ad27ac" providerId="ADAL" clId="{E52CE785-BE8F-4039-A092-EE680265AEFD}" dt="2021-08-13T05:15:44.869" v="2243" actId="20577"/>
          <ac:spMkLst>
            <pc:docMk/>
            <pc:sldMk cId="3960022030" sldId="3215"/>
            <ac:spMk id="3" creationId="{6122A0C6-81B3-4485-9886-57614C60C2B1}"/>
          </ac:spMkLst>
        </pc:spChg>
        <pc:spChg chg="add del mod">
          <ac:chgData name="Deshpande, Mayuri (T RDA FOA PAE-US)" userId="307bd999-17dd-4997-b1e2-139127ad27ac" providerId="ADAL" clId="{E52CE785-BE8F-4039-A092-EE680265AEFD}" dt="2021-08-13T04:42:15.890" v="1339" actId="478"/>
          <ac:spMkLst>
            <pc:docMk/>
            <pc:sldMk cId="3960022030" sldId="3215"/>
            <ac:spMk id="5" creationId="{24907FE0-4A06-4C6D-A5D6-A82603A37096}"/>
          </ac:spMkLst>
        </pc:spChg>
        <pc:spChg chg="add mod">
          <ac:chgData name="Deshpande, Mayuri (T RDA FOA PAE-US)" userId="307bd999-17dd-4997-b1e2-139127ad27ac" providerId="ADAL" clId="{E52CE785-BE8F-4039-A092-EE680265AEFD}" dt="2021-08-13T04:44:59.968" v="1379" actId="1076"/>
          <ac:spMkLst>
            <pc:docMk/>
            <pc:sldMk cId="3960022030" sldId="3215"/>
            <ac:spMk id="6" creationId="{E78844E4-17D3-4F1C-A24C-B3B8728220DE}"/>
          </ac:spMkLst>
        </pc:spChg>
        <pc:spChg chg="add del mod">
          <ac:chgData name="Deshpande, Mayuri (T RDA FOA PAE-US)" userId="307bd999-17dd-4997-b1e2-139127ad27ac" providerId="ADAL" clId="{E52CE785-BE8F-4039-A092-EE680265AEFD}" dt="2021-08-13T04:45:27.445" v="1403" actId="14100"/>
          <ac:spMkLst>
            <pc:docMk/>
            <pc:sldMk cId="3960022030" sldId="3215"/>
            <ac:spMk id="9" creationId="{D090A61C-9016-431E-9C75-3A4BC045EE12}"/>
          </ac:spMkLst>
        </pc:spChg>
        <pc:spChg chg="add mod">
          <ac:chgData name="Deshpande, Mayuri (T RDA FOA PAE-US)" userId="307bd999-17dd-4997-b1e2-139127ad27ac" providerId="ADAL" clId="{E52CE785-BE8F-4039-A092-EE680265AEFD}" dt="2021-08-13T04:45:38.553" v="1416" actId="14100"/>
          <ac:spMkLst>
            <pc:docMk/>
            <pc:sldMk cId="3960022030" sldId="3215"/>
            <ac:spMk id="10" creationId="{E5CF70C6-4765-472A-A0B7-D5B95213EBD9}"/>
          </ac:spMkLst>
        </pc:spChg>
        <pc:picChg chg="add mod">
          <ac:chgData name="Deshpande, Mayuri (T RDA FOA PAE-US)" userId="307bd999-17dd-4997-b1e2-139127ad27ac" providerId="ADAL" clId="{E52CE785-BE8F-4039-A092-EE680265AEFD}" dt="2021-08-13T04:45:19.706" v="1401" actId="1076"/>
          <ac:picMkLst>
            <pc:docMk/>
            <pc:sldMk cId="3960022030" sldId="3215"/>
            <ac:picMk id="7" creationId="{F3B891AF-7945-4E3E-A8FF-D70DF41F1AC8}"/>
          </ac:picMkLst>
        </pc:picChg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4201953570" sldId="3215"/>
        </pc:sldMkLst>
      </pc:sldChg>
      <pc:sldChg chg="addSp delSp modSp new mod">
        <pc:chgData name="Deshpande, Mayuri (T RDA FOA PAE-US)" userId="307bd999-17dd-4997-b1e2-139127ad27ac" providerId="ADAL" clId="{E52CE785-BE8F-4039-A092-EE680265AEFD}" dt="2021-08-13T05:15:48.700" v="2244" actId="20577"/>
        <pc:sldMkLst>
          <pc:docMk/>
          <pc:sldMk cId="948852922" sldId="3216"/>
        </pc:sldMkLst>
        <pc:spChg chg="mod">
          <ac:chgData name="Deshpande, Mayuri (T RDA FOA PAE-US)" userId="307bd999-17dd-4997-b1e2-139127ad27ac" providerId="ADAL" clId="{E52CE785-BE8F-4039-A092-EE680265AEFD}" dt="2021-08-13T04:55:38.638" v="1556" actId="20577"/>
          <ac:spMkLst>
            <pc:docMk/>
            <pc:sldMk cId="948852922" sldId="3216"/>
            <ac:spMk id="2" creationId="{CB3C3663-6198-4006-8F2C-E8EAB8D3BDC2}"/>
          </ac:spMkLst>
        </pc:spChg>
        <pc:spChg chg="mod">
          <ac:chgData name="Deshpande, Mayuri (T RDA FOA PAE-US)" userId="307bd999-17dd-4997-b1e2-139127ad27ac" providerId="ADAL" clId="{E52CE785-BE8F-4039-A092-EE680265AEFD}" dt="2021-08-13T05:15:48.700" v="2244" actId="20577"/>
          <ac:spMkLst>
            <pc:docMk/>
            <pc:sldMk cId="948852922" sldId="3216"/>
            <ac:spMk id="3" creationId="{CECFC1B0-E657-44C6-9D8F-00B632E0C1DA}"/>
          </ac:spMkLst>
        </pc:spChg>
        <pc:spChg chg="add del mod">
          <ac:chgData name="Deshpande, Mayuri (T RDA FOA PAE-US)" userId="307bd999-17dd-4997-b1e2-139127ad27ac" providerId="ADAL" clId="{E52CE785-BE8F-4039-A092-EE680265AEFD}" dt="2021-08-13T05:08:35.191" v="2081" actId="478"/>
          <ac:spMkLst>
            <pc:docMk/>
            <pc:sldMk cId="948852922" sldId="3216"/>
            <ac:spMk id="5" creationId="{1A689D00-D565-43D5-A3D9-6B200DD18A6A}"/>
          </ac:spMkLst>
        </pc:spChg>
        <pc:spChg chg="add del mod">
          <ac:chgData name="Deshpande, Mayuri (T RDA FOA PAE-US)" userId="307bd999-17dd-4997-b1e2-139127ad27ac" providerId="ADAL" clId="{E52CE785-BE8F-4039-A092-EE680265AEFD}" dt="2021-08-13T04:58:17.069" v="1667"/>
          <ac:spMkLst>
            <pc:docMk/>
            <pc:sldMk cId="948852922" sldId="3216"/>
            <ac:spMk id="6" creationId="{889D045D-F80A-469F-B55F-C6719D224C19}"/>
          </ac:spMkLst>
        </pc:spChg>
        <pc:spChg chg="add del mod">
          <ac:chgData name="Deshpande, Mayuri (T RDA FOA PAE-US)" userId="307bd999-17dd-4997-b1e2-139127ad27ac" providerId="ADAL" clId="{E52CE785-BE8F-4039-A092-EE680265AEFD}" dt="2021-08-13T05:08:41.186" v="2085" actId="478"/>
          <ac:spMkLst>
            <pc:docMk/>
            <pc:sldMk cId="948852922" sldId="3216"/>
            <ac:spMk id="7" creationId="{90E686C1-B88A-461B-A19E-4F9D66E732A9}"/>
          </ac:spMkLst>
        </pc:spChg>
        <pc:spChg chg="add del mod">
          <ac:chgData name="Deshpande, Mayuri (T RDA FOA PAE-US)" userId="307bd999-17dd-4997-b1e2-139127ad27ac" providerId="ADAL" clId="{E52CE785-BE8F-4039-A092-EE680265AEFD}" dt="2021-08-13T04:58:56.700" v="1704"/>
          <ac:spMkLst>
            <pc:docMk/>
            <pc:sldMk cId="948852922" sldId="3216"/>
            <ac:spMk id="8" creationId="{11410E31-C8E1-4F2E-89F8-6CF8D5AC5908}"/>
          </ac:spMkLst>
        </pc:spChg>
        <pc:spChg chg="add del mod">
          <ac:chgData name="Deshpande, Mayuri (T RDA FOA PAE-US)" userId="307bd999-17dd-4997-b1e2-139127ad27ac" providerId="ADAL" clId="{E52CE785-BE8F-4039-A092-EE680265AEFD}" dt="2021-08-13T05:08:53.887" v="2089" actId="478"/>
          <ac:spMkLst>
            <pc:docMk/>
            <pc:sldMk cId="948852922" sldId="3216"/>
            <ac:spMk id="9" creationId="{6EF8B5AF-1977-486C-8527-A8E0E047E4D7}"/>
          </ac:spMkLst>
        </pc:spChg>
        <pc:spChg chg="add del mod">
          <ac:chgData name="Deshpande, Mayuri (T RDA FOA PAE-US)" userId="307bd999-17dd-4997-b1e2-139127ad27ac" providerId="ADAL" clId="{E52CE785-BE8F-4039-A092-EE680265AEFD}" dt="2021-08-13T05:08:37.275" v="2082" actId="478"/>
          <ac:spMkLst>
            <pc:docMk/>
            <pc:sldMk cId="948852922" sldId="3216"/>
            <ac:spMk id="10" creationId="{36BF4EA3-A5AA-4B7A-838A-B475AAB2030E}"/>
          </ac:spMkLst>
        </pc:spChg>
        <pc:spChg chg="add del mod">
          <ac:chgData name="Deshpande, Mayuri (T RDA FOA PAE-US)" userId="307bd999-17dd-4997-b1e2-139127ad27ac" providerId="ADAL" clId="{E52CE785-BE8F-4039-A092-EE680265AEFD}" dt="2021-08-13T05:08:38.647" v="2083" actId="478"/>
          <ac:spMkLst>
            <pc:docMk/>
            <pc:sldMk cId="948852922" sldId="3216"/>
            <ac:spMk id="11" creationId="{37369F9E-D21A-49A1-B6E2-DC71764A8E19}"/>
          </ac:spMkLst>
        </pc:spChg>
        <pc:spChg chg="add del mod">
          <ac:chgData name="Deshpande, Mayuri (T RDA FOA PAE-US)" userId="307bd999-17dd-4997-b1e2-139127ad27ac" providerId="ADAL" clId="{E52CE785-BE8F-4039-A092-EE680265AEFD}" dt="2021-08-13T05:08:39.825" v="2084" actId="478"/>
          <ac:spMkLst>
            <pc:docMk/>
            <pc:sldMk cId="948852922" sldId="3216"/>
            <ac:spMk id="12" creationId="{9393CA32-4F4A-4CFD-BA3F-9A1806095875}"/>
          </ac:spMkLst>
        </pc:spChg>
        <pc:spChg chg="add del mod">
          <ac:chgData name="Deshpande, Mayuri (T RDA FOA PAE-US)" userId="307bd999-17dd-4997-b1e2-139127ad27ac" providerId="ADAL" clId="{E52CE785-BE8F-4039-A092-EE680265AEFD}" dt="2021-08-13T05:08:42.465" v="2086" actId="478"/>
          <ac:spMkLst>
            <pc:docMk/>
            <pc:sldMk cId="948852922" sldId="3216"/>
            <ac:spMk id="13" creationId="{8F126768-C8C5-44C8-B386-FC37499AE51B}"/>
          </ac:spMkLst>
        </pc:spChg>
        <pc:spChg chg="add del mod">
          <ac:chgData name="Deshpande, Mayuri (T RDA FOA PAE-US)" userId="307bd999-17dd-4997-b1e2-139127ad27ac" providerId="ADAL" clId="{E52CE785-BE8F-4039-A092-EE680265AEFD}" dt="2021-08-13T05:09:02.217" v="2092" actId="478"/>
          <ac:spMkLst>
            <pc:docMk/>
            <pc:sldMk cId="948852922" sldId="3216"/>
            <ac:spMk id="14" creationId="{0202389F-E1ED-4BB8-9265-46C56F529022}"/>
          </ac:spMkLst>
        </pc:spChg>
        <pc:spChg chg="add mod">
          <ac:chgData name="Deshpande, Mayuri (T RDA FOA PAE-US)" userId="307bd999-17dd-4997-b1e2-139127ad27ac" providerId="ADAL" clId="{E52CE785-BE8F-4039-A092-EE680265AEFD}" dt="2021-08-13T05:09:25.016" v="2097" actId="14100"/>
          <ac:spMkLst>
            <pc:docMk/>
            <pc:sldMk cId="948852922" sldId="3216"/>
            <ac:spMk id="15" creationId="{510A3E41-0C58-4F3D-AF9F-2C45545321A5}"/>
          </ac:spMkLst>
        </pc:spChg>
        <pc:spChg chg="add mod">
          <ac:chgData name="Deshpande, Mayuri (T RDA FOA PAE-US)" userId="307bd999-17dd-4997-b1e2-139127ad27ac" providerId="ADAL" clId="{E52CE785-BE8F-4039-A092-EE680265AEFD}" dt="2021-08-13T05:09:33.129" v="2099" actId="14100"/>
          <ac:spMkLst>
            <pc:docMk/>
            <pc:sldMk cId="948852922" sldId="3216"/>
            <ac:spMk id="16" creationId="{6C1B504D-945C-4D33-8D04-E17B30E49686}"/>
          </ac:spMkLst>
        </pc:spChg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1387550153" sldId="3216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516534244" sldId="3218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3970729678" sldId="3219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1507976878" sldId="3220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723989788" sldId="3221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3968327367" sldId="3222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1744370644" sldId="3223"/>
        </pc:sldMkLst>
      </pc:sldChg>
      <pc:sldChg chg="del">
        <pc:chgData name="Deshpande, Mayuri (T RDA FOA PAE-US)" userId="307bd999-17dd-4997-b1e2-139127ad27ac" providerId="ADAL" clId="{E52CE785-BE8F-4039-A092-EE680265AEFD}" dt="2021-07-23T15:57:19.961" v="37" actId="47"/>
        <pc:sldMkLst>
          <pc:docMk/>
          <pc:sldMk cId="1036740910" sldId="3224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4081115180" sldId="3225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4259010539" sldId="3226"/>
        </pc:sldMkLst>
      </pc:sldChg>
      <pc:sldChg chg="del">
        <pc:chgData name="Deshpande, Mayuri (T RDA FOA PAE-US)" userId="307bd999-17dd-4997-b1e2-139127ad27ac" providerId="ADAL" clId="{E52CE785-BE8F-4039-A092-EE680265AEFD}" dt="2021-07-23T15:57:27.526" v="38" actId="47"/>
        <pc:sldMkLst>
          <pc:docMk/>
          <pc:sldMk cId="2482572593" sldId="3227"/>
        </pc:sldMkLst>
      </pc:sldChg>
      <pc:sldMasterChg chg="delSldLayout modSldLayout">
        <pc:chgData name="Deshpande, Mayuri (T RDA FOA PAE-US)" userId="307bd999-17dd-4997-b1e2-139127ad27ac" providerId="ADAL" clId="{E52CE785-BE8F-4039-A092-EE680265AEFD}" dt="2021-08-13T05:15:06.456" v="2237" actId="20577"/>
        <pc:sldMasterMkLst>
          <pc:docMk/>
          <pc:sldMasterMk cId="1698585145" sldId="2147483648"/>
        </pc:sldMasterMkLst>
        <pc:sldLayoutChg chg="modSp mod">
          <pc:chgData name="Deshpande, Mayuri (T RDA FOA PAE-US)" userId="307bd999-17dd-4997-b1e2-139127ad27ac" providerId="ADAL" clId="{E52CE785-BE8F-4039-A092-EE680265AEFD}" dt="2021-08-13T05:15:06.456" v="2237" actId="20577"/>
          <pc:sldLayoutMkLst>
            <pc:docMk/>
            <pc:sldMasterMk cId="1698585145" sldId="2147483648"/>
            <pc:sldLayoutMk cId="2943002918" sldId="2147483655"/>
          </pc:sldLayoutMkLst>
          <pc:spChg chg="mod">
            <ac:chgData name="Deshpande, Mayuri (T RDA FOA PAE-US)" userId="307bd999-17dd-4997-b1e2-139127ad27ac" providerId="ADAL" clId="{E52CE785-BE8F-4039-A092-EE680265AEFD}" dt="2021-08-13T05:15:06.456" v="2237" actId="20577"/>
            <ac:spMkLst>
              <pc:docMk/>
              <pc:sldMasterMk cId="1698585145" sldId="2147483648"/>
              <pc:sldLayoutMk cId="2943002918" sldId="2147483655"/>
              <ac:spMk id="9" creationId="{8C6E0B19-DC70-4D19-9A56-05E87567F196}"/>
            </ac:spMkLst>
          </pc:spChg>
        </pc:sldLayoutChg>
        <pc:sldLayoutChg chg="modSp mod">
          <pc:chgData name="Deshpande, Mayuri (T RDA FOA PAE-US)" userId="307bd999-17dd-4997-b1e2-139127ad27ac" providerId="ADAL" clId="{E52CE785-BE8F-4039-A092-EE680265AEFD}" dt="2021-08-13T05:14:08.976" v="2179" actId="20577"/>
          <pc:sldLayoutMkLst>
            <pc:docMk/>
            <pc:sldMasterMk cId="1698585145" sldId="2147483648"/>
            <pc:sldLayoutMk cId="2026250594" sldId="2147483717"/>
          </pc:sldLayoutMkLst>
          <pc:spChg chg="mod">
            <ac:chgData name="Deshpande, Mayuri (T RDA FOA PAE-US)" userId="307bd999-17dd-4997-b1e2-139127ad27ac" providerId="ADAL" clId="{E52CE785-BE8F-4039-A092-EE680265AEFD}" dt="2021-08-13T05:14:08.976" v="2179" actId="20577"/>
            <ac:spMkLst>
              <pc:docMk/>
              <pc:sldMasterMk cId="1698585145" sldId="2147483648"/>
              <pc:sldLayoutMk cId="2026250594" sldId="2147483717"/>
              <ac:spMk id="2" creationId="{36983F93-FD6F-4DAC-8F23-D4EF00A04206}"/>
            </ac:spMkLst>
          </pc:spChg>
        </pc:sldLayoutChg>
        <pc:sldLayoutChg chg="del">
          <pc:chgData name="Deshpande, Mayuri (T RDA FOA PAE-US)" userId="307bd999-17dd-4997-b1e2-139127ad27ac" providerId="ADAL" clId="{E52CE785-BE8F-4039-A092-EE680265AEFD}" dt="2021-07-23T15:57:27.526" v="38" actId="47"/>
          <pc:sldLayoutMkLst>
            <pc:docMk/>
            <pc:sldMasterMk cId="1698585145" sldId="2147483648"/>
            <pc:sldLayoutMk cId="339893585" sldId="2147483753"/>
          </pc:sldLayoutMkLst>
        </pc:sldLayoutChg>
        <pc:sldLayoutChg chg="del">
          <pc:chgData name="Deshpande, Mayuri (T RDA FOA PAE-US)" userId="307bd999-17dd-4997-b1e2-139127ad27ac" providerId="ADAL" clId="{E52CE785-BE8F-4039-A092-EE680265AEFD}" dt="2021-07-23T15:57:27.526" v="38" actId="47"/>
          <pc:sldLayoutMkLst>
            <pc:docMk/>
            <pc:sldMasterMk cId="1698585145" sldId="2147483648"/>
            <pc:sldLayoutMk cId="3131793895" sldId="2147483784"/>
          </pc:sldLayoutMkLst>
        </pc:sldLayoutChg>
        <pc:sldLayoutChg chg="del">
          <pc:chgData name="Deshpande, Mayuri (T RDA FOA PAE-US)" userId="307bd999-17dd-4997-b1e2-139127ad27ac" providerId="ADAL" clId="{E52CE785-BE8F-4039-A092-EE680265AEFD}" dt="2021-07-23T15:57:27.526" v="38" actId="47"/>
          <pc:sldLayoutMkLst>
            <pc:docMk/>
            <pc:sldMasterMk cId="1698585145" sldId="2147483648"/>
            <pc:sldLayoutMk cId="3368145877" sldId="2147483788"/>
          </pc:sldLayoutMkLst>
        </pc:sldLayoutChg>
      </pc:sldMasterChg>
    </pc:docChg>
  </pc:docChgLst>
  <pc:docChgLst>
    <pc:chgData name="Deshpande, Mayuri (T RDA FOA PAE-US)" userId="307bd999-17dd-4997-b1e2-139127ad27ac" providerId="ADAL" clId="{768E4A13-A73D-464F-B438-21CE62CAAFD3}"/>
    <pc:docChg chg="undo redo custSel addSld delSld modSld sldOrd">
      <pc:chgData name="Deshpande, Mayuri (T RDA FOA PAE-US)" userId="307bd999-17dd-4997-b1e2-139127ad27ac" providerId="ADAL" clId="{768E4A13-A73D-464F-B438-21CE62CAAFD3}" dt="2021-05-28T17:56:14.783" v="3315" actId="20577"/>
      <pc:docMkLst>
        <pc:docMk/>
      </pc:docMkLst>
      <pc:sldChg chg="new del">
        <pc:chgData name="Deshpande, Mayuri (T RDA FOA PAE-US)" userId="307bd999-17dd-4997-b1e2-139127ad27ac" providerId="ADAL" clId="{768E4A13-A73D-464F-B438-21CE62CAAFD3}" dt="2021-05-03T14:32:14.084" v="1" actId="47"/>
        <pc:sldMkLst>
          <pc:docMk/>
          <pc:sldMk cId="1589379554" sldId="3219"/>
        </pc:sldMkLst>
      </pc:sldChg>
      <pc:sldChg chg="addSp modSp new mod">
        <pc:chgData name="Deshpande, Mayuri (T RDA FOA PAE-US)" userId="307bd999-17dd-4997-b1e2-139127ad27ac" providerId="ADAL" clId="{768E4A13-A73D-464F-B438-21CE62CAAFD3}" dt="2021-05-03T14:50:00.667" v="444" actId="20577"/>
        <pc:sldMkLst>
          <pc:docMk/>
          <pc:sldMk cId="3970729678" sldId="3219"/>
        </pc:sldMkLst>
        <pc:spChg chg="mod">
          <ac:chgData name="Deshpande, Mayuri (T RDA FOA PAE-US)" userId="307bd999-17dd-4997-b1e2-139127ad27ac" providerId="ADAL" clId="{768E4A13-A73D-464F-B438-21CE62CAAFD3}" dt="2021-05-03T14:32:52.598" v="86" actId="6549"/>
          <ac:spMkLst>
            <pc:docMk/>
            <pc:sldMk cId="3970729678" sldId="3219"/>
            <ac:spMk id="2" creationId="{8D27DC10-7639-4ACF-8AFC-E518D44109D5}"/>
          </ac:spMkLst>
        </pc:spChg>
        <pc:spChg chg="add mod">
          <ac:chgData name="Deshpande, Mayuri (T RDA FOA PAE-US)" userId="307bd999-17dd-4997-b1e2-139127ad27ac" providerId="ADAL" clId="{768E4A13-A73D-464F-B438-21CE62CAAFD3}" dt="2021-05-03T14:50:00.667" v="444" actId="20577"/>
          <ac:spMkLst>
            <pc:docMk/>
            <pc:sldMk cId="3970729678" sldId="3219"/>
            <ac:spMk id="7" creationId="{1F92E334-1B57-4ECA-AD2F-480D67425840}"/>
          </ac:spMkLst>
        </pc:spChg>
        <pc:picChg chg="add mod">
          <ac:chgData name="Deshpande, Mayuri (T RDA FOA PAE-US)" userId="307bd999-17dd-4997-b1e2-139127ad27ac" providerId="ADAL" clId="{768E4A13-A73D-464F-B438-21CE62CAAFD3}" dt="2021-05-03T14:48:13.168" v="336" actId="1076"/>
          <ac:picMkLst>
            <pc:docMk/>
            <pc:sldMk cId="3970729678" sldId="3219"/>
            <ac:picMk id="6" creationId="{6BACFAC7-A920-4234-B7DD-9490E78434AC}"/>
          </ac:picMkLst>
        </pc:picChg>
      </pc:sldChg>
      <pc:sldChg chg="addSp modSp new mod">
        <pc:chgData name="Deshpande, Mayuri (T RDA FOA PAE-US)" userId="307bd999-17dd-4997-b1e2-139127ad27ac" providerId="ADAL" clId="{768E4A13-A73D-464F-B438-21CE62CAAFD3}" dt="2021-05-03T14:34:50.042" v="125" actId="13822"/>
        <pc:sldMkLst>
          <pc:docMk/>
          <pc:sldMk cId="1507976878" sldId="3220"/>
        </pc:sldMkLst>
        <pc:spChg chg="add mod">
          <ac:chgData name="Deshpande, Mayuri (T RDA FOA PAE-US)" userId="307bd999-17dd-4997-b1e2-139127ad27ac" providerId="ADAL" clId="{768E4A13-A73D-464F-B438-21CE62CAAFD3}" dt="2021-05-03T14:34:31.527" v="123" actId="207"/>
          <ac:spMkLst>
            <pc:docMk/>
            <pc:sldMk cId="1507976878" sldId="3220"/>
            <ac:spMk id="7" creationId="{95781D3E-883A-4585-8618-D3A224D35425}"/>
          </ac:spMkLst>
        </pc:spChg>
        <pc:picChg chg="add mod">
          <ac:chgData name="Deshpande, Mayuri (T RDA FOA PAE-US)" userId="307bd999-17dd-4997-b1e2-139127ad27ac" providerId="ADAL" clId="{768E4A13-A73D-464F-B438-21CE62CAAFD3}" dt="2021-05-03T14:33:56.875" v="89" actId="1076"/>
          <ac:picMkLst>
            <pc:docMk/>
            <pc:sldMk cId="1507976878" sldId="3220"/>
            <ac:picMk id="6" creationId="{65339E96-CF00-4BD2-B7A6-05C8CA7892A0}"/>
          </ac:picMkLst>
        </pc:picChg>
        <pc:cxnChg chg="add mod">
          <ac:chgData name="Deshpande, Mayuri (T RDA FOA PAE-US)" userId="307bd999-17dd-4997-b1e2-139127ad27ac" providerId="ADAL" clId="{768E4A13-A73D-464F-B438-21CE62CAAFD3}" dt="2021-05-03T14:34:50.042" v="125" actId="13822"/>
          <ac:cxnSpMkLst>
            <pc:docMk/>
            <pc:sldMk cId="1507976878" sldId="3220"/>
            <ac:cxnSpMk id="9" creationId="{1EEEE482-022D-47B7-A445-B1E7F5BA2651}"/>
          </ac:cxnSpMkLst>
        </pc:cxnChg>
      </pc:sldChg>
      <pc:sldChg chg="addSp modSp new mod">
        <pc:chgData name="Deshpande, Mayuri (T RDA FOA PAE-US)" userId="307bd999-17dd-4997-b1e2-139127ad27ac" providerId="ADAL" clId="{768E4A13-A73D-464F-B438-21CE62CAAFD3}" dt="2021-05-03T14:48:18.047" v="337" actId="571"/>
        <pc:sldMkLst>
          <pc:docMk/>
          <pc:sldMk cId="723989788" sldId="3221"/>
        </pc:sldMkLst>
        <pc:spChg chg="mod">
          <ac:chgData name="Deshpande, Mayuri (T RDA FOA PAE-US)" userId="307bd999-17dd-4997-b1e2-139127ad27ac" providerId="ADAL" clId="{768E4A13-A73D-464F-B438-21CE62CAAFD3}" dt="2021-05-03T14:36:45.034" v="159" actId="20577"/>
          <ac:spMkLst>
            <pc:docMk/>
            <pc:sldMk cId="723989788" sldId="3221"/>
            <ac:spMk id="2" creationId="{4EB401B5-63CF-4CAE-A3F4-76FC1FDDBDE7}"/>
          </ac:spMkLst>
        </pc:spChg>
        <pc:spChg chg="add mod">
          <ac:chgData name="Deshpande, Mayuri (T RDA FOA PAE-US)" userId="307bd999-17dd-4997-b1e2-139127ad27ac" providerId="ADAL" clId="{768E4A13-A73D-464F-B438-21CE62CAAFD3}" dt="2021-05-03T14:37:20.428" v="190" actId="207"/>
          <ac:spMkLst>
            <pc:docMk/>
            <pc:sldMk cId="723989788" sldId="3221"/>
            <ac:spMk id="7" creationId="{27337679-CC1B-43F2-A84E-7390D36084CB}"/>
          </ac:spMkLst>
        </pc:spChg>
        <pc:spChg chg="add mod">
          <ac:chgData name="Deshpande, Mayuri (T RDA FOA PAE-US)" userId="307bd999-17dd-4997-b1e2-139127ad27ac" providerId="ADAL" clId="{768E4A13-A73D-464F-B438-21CE62CAAFD3}" dt="2021-05-03T14:38:02.672" v="224" actId="20577"/>
          <ac:spMkLst>
            <pc:docMk/>
            <pc:sldMk cId="723989788" sldId="3221"/>
            <ac:spMk id="8" creationId="{5F7336C2-B02A-4883-8DED-1AD52347FE0A}"/>
          </ac:spMkLst>
        </pc:spChg>
        <pc:spChg chg="add mod">
          <ac:chgData name="Deshpande, Mayuri (T RDA FOA PAE-US)" userId="307bd999-17dd-4997-b1e2-139127ad27ac" providerId="ADAL" clId="{768E4A13-A73D-464F-B438-21CE62CAAFD3}" dt="2021-05-03T14:40:26.794" v="232" actId="1076"/>
          <ac:spMkLst>
            <pc:docMk/>
            <pc:sldMk cId="723989788" sldId="3221"/>
            <ac:spMk id="10" creationId="{129AE894-E0EA-42E8-A0E6-96D78FB8E784}"/>
          </ac:spMkLst>
        </pc:spChg>
        <pc:spChg chg="add mod">
          <ac:chgData name="Deshpande, Mayuri (T RDA FOA PAE-US)" userId="307bd999-17dd-4997-b1e2-139127ad27ac" providerId="ADAL" clId="{768E4A13-A73D-464F-B438-21CE62CAAFD3}" dt="2021-05-03T14:41:03.792" v="307" actId="1076"/>
          <ac:spMkLst>
            <pc:docMk/>
            <pc:sldMk cId="723989788" sldId="3221"/>
            <ac:spMk id="11" creationId="{74B88FF6-66DC-4635-8A71-7E8E720F6985}"/>
          </ac:spMkLst>
        </pc:spChg>
        <pc:spChg chg="add mod">
          <ac:chgData name="Deshpande, Mayuri (T RDA FOA PAE-US)" userId="307bd999-17dd-4997-b1e2-139127ad27ac" providerId="ADAL" clId="{768E4A13-A73D-464F-B438-21CE62CAAFD3}" dt="2021-05-03T14:48:18.047" v="337" actId="571"/>
          <ac:spMkLst>
            <pc:docMk/>
            <pc:sldMk cId="723989788" sldId="3221"/>
            <ac:spMk id="12" creationId="{A647B27E-F1BE-47B4-B563-B0A7110EEFB1}"/>
          </ac:spMkLst>
        </pc:spChg>
        <pc:picChg chg="add mod">
          <ac:chgData name="Deshpande, Mayuri (T RDA FOA PAE-US)" userId="307bd999-17dd-4997-b1e2-139127ad27ac" providerId="ADAL" clId="{768E4A13-A73D-464F-B438-21CE62CAAFD3}" dt="2021-05-03T14:41:00.498" v="306" actId="1076"/>
          <ac:picMkLst>
            <pc:docMk/>
            <pc:sldMk cId="723989788" sldId="3221"/>
            <ac:picMk id="6" creationId="{4C24C504-904D-4156-A041-04FF3F37A649}"/>
          </ac:picMkLst>
        </pc:picChg>
      </pc:sldChg>
      <pc:sldChg chg="addSp delSp modSp new mod ord">
        <pc:chgData name="Deshpande, Mayuri (T RDA FOA PAE-US)" userId="307bd999-17dd-4997-b1e2-139127ad27ac" providerId="ADAL" clId="{768E4A13-A73D-464F-B438-21CE62CAAFD3}" dt="2021-05-14T18:42:53.094" v="2103"/>
        <pc:sldMkLst>
          <pc:docMk/>
          <pc:sldMk cId="3968327367" sldId="3222"/>
        </pc:sldMkLst>
        <pc:spChg chg="mod">
          <ac:chgData name="Deshpande, Mayuri (T RDA FOA PAE-US)" userId="307bd999-17dd-4997-b1e2-139127ad27ac" providerId="ADAL" clId="{768E4A13-A73D-464F-B438-21CE62CAAFD3}" dt="2021-05-04T23:12:35.375" v="1760" actId="1076"/>
          <ac:spMkLst>
            <pc:docMk/>
            <pc:sldMk cId="3968327367" sldId="3222"/>
            <ac:spMk id="2" creationId="{14ACD0C2-6090-4DF0-A9D8-E08645C49A9D}"/>
          </ac:spMkLst>
        </pc:spChg>
        <pc:spChg chg="del">
          <ac:chgData name="Deshpande, Mayuri (T RDA FOA PAE-US)" userId="307bd999-17dd-4997-b1e2-139127ad27ac" providerId="ADAL" clId="{768E4A13-A73D-464F-B438-21CE62CAAFD3}" dt="2021-05-03T14:58:02.184" v="485" actId="478"/>
          <ac:spMkLst>
            <pc:docMk/>
            <pc:sldMk cId="3968327367" sldId="3222"/>
            <ac:spMk id="3" creationId="{D95714C9-0C3D-41B4-822C-7C2B1FDB5DCC}"/>
          </ac:spMkLst>
        </pc:spChg>
        <pc:spChg chg="add del mod">
          <ac:chgData name="Deshpande, Mayuri (T RDA FOA PAE-US)" userId="307bd999-17dd-4997-b1e2-139127ad27ac" providerId="ADAL" clId="{768E4A13-A73D-464F-B438-21CE62CAAFD3}" dt="2021-05-03T15:05:54.556" v="516" actId="478"/>
          <ac:spMkLst>
            <pc:docMk/>
            <pc:sldMk cId="3968327367" sldId="3222"/>
            <ac:spMk id="5" creationId="{BA7B376F-5F7D-4C82-805C-9EE39BF775DB}"/>
          </ac:spMkLst>
        </pc:spChg>
        <pc:spChg chg="add del mod">
          <ac:chgData name="Deshpande, Mayuri (T RDA FOA PAE-US)" userId="307bd999-17dd-4997-b1e2-139127ad27ac" providerId="ADAL" clId="{768E4A13-A73D-464F-B438-21CE62CAAFD3}" dt="2021-05-03T15:05:54.556" v="516" actId="478"/>
          <ac:spMkLst>
            <pc:docMk/>
            <pc:sldMk cId="3968327367" sldId="3222"/>
            <ac:spMk id="6" creationId="{75D2248C-D51B-4CFC-ACC6-1CC63F8DBD20}"/>
          </ac:spMkLst>
        </pc:spChg>
        <pc:spChg chg="add del mod">
          <ac:chgData name="Deshpande, Mayuri (T RDA FOA PAE-US)" userId="307bd999-17dd-4997-b1e2-139127ad27ac" providerId="ADAL" clId="{768E4A13-A73D-464F-B438-21CE62CAAFD3}" dt="2021-05-03T15:05:54.556" v="516" actId="478"/>
          <ac:spMkLst>
            <pc:docMk/>
            <pc:sldMk cId="3968327367" sldId="3222"/>
            <ac:spMk id="7" creationId="{0B18A560-40B6-4811-A329-DA74CC2B1C04}"/>
          </ac:spMkLst>
        </pc:spChg>
        <pc:spChg chg="add del mod">
          <ac:chgData name="Deshpande, Mayuri (T RDA FOA PAE-US)" userId="307bd999-17dd-4997-b1e2-139127ad27ac" providerId="ADAL" clId="{768E4A13-A73D-464F-B438-21CE62CAAFD3}" dt="2021-05-03T15:05:57.020" v="517" actId="478"/>
          <ac:spMkLst>
            <pc:docMk/>
            <pc:sldMk cId="3968327367" sldId="3222"/>
            <ac:spMk id="8" creationId="{18F2650C-7FED-4025-95F9-4BAEB6376727}"/>
          </ac:spMkLst>
        </pc:spChg>
        <pc:spChg chg="add del mod">
          <ac:chgData name="Deshpande, Mayuri (T RDA FOA PAE-US)" userId="307bd999-17dd-4997-b1e2-139127ad27ac" providerId="ADAL" clId="{768E4A13-A73D-464F-B438-21CE62CAAFD3}" dt="2021-05-03T14:59:18.688" v="509" actId="478"/>
          <ac:spMkLst>
            <pc:docMk/>
            <pc:sldMk cId="3968327367" sldId="3222"/>
            <ac:spMk id="9" creationId="{7BCE7C3D-517F-4DB7-9365-A0848D725063}"/>
          </ac:spMkLst>
        </pc:spChg>
        <pc:spChg chg="add del mod">
          <ac:chgData name="Deshpande, Mayuri (T RDA FOA PAE-US)" userId="307bd999-17dd-4997-b1e2-139127ad27ac" providerId="ADAL" clId="{768E4A13-A73D-464F-B438-21CE62CAAFD3}" dt="2021-05-03T15:05:54.556" v="516" actId="478"/>
          <ac:spMkLst>
            <pc:docMk/>
            <pc:sldMk cId="3968327367" sldId="3222"/>
            <ac:spMk id="10" creationId="{3E402080-619E-4189-98B9-31041F0C957E}"/>
          </ac:spMkLst>
        </pc:spChg>
        <pc:spChg chg="add del mod">
          <ac:chgData name="Deshpande, Mayuri (T RDA FOA PAE-US)" userId="307bd999-17dd-4997-b1e2-139127ad27ac" providerId="ADAL" clId="{768E4A13-A73D-464F-B438-21CE62CAAFD3}" dt="2021-05-03T15:05:54.556" v="516" actId="478"/>
          <ac:spMkLst>
            <pc:docMk/>
            <pc:sldMk cId="3968327367" sldId="3222"/>
            <ac:spMk id="11" creationId="{2C981F6C-ACB3-49FE-AD53-8CEE9FD0F069}"/>
          </ac:spMkLst>
        </pc:spChg>
        <pc:spChg chg="add del mod">
          <ac:chgData name="Deshpande, Mayuri (T RDA FOA PAE-US)" userId="307bd999-17dd-4997-b1e2-139127ad27ac" providerId="ADAL" clId="{768E4A13-A73D-464F-B438-21CE62CAAFD3}" dt="2021-05-04T21:34:02.573" v="716" actId="478"/>
          <ac:spMkLst>
            <pc:docMk/>
            <pc:sldMk cId="3968327367" sldId="3222"/>
            <ac:spMk id="14" creationId="{D8B08C33-A3EA-4E20-9D0D-E6E74409749C}"/>
          </ac:spMkLst>
        </pc:spChg>
        <pc:spChg chg="add del mod">
          <ac:chgData name="Deshpande, Mayuri (T RDA FOA PAE-US)" userId="307bd999-17dd-4997-b1e2-139127ad27ac" providerId="ADAL" clId="{768E4A13-A73D-464F-B438-21CE62CAAFD3}" dt="2021-05-04T21:34:02.573" v="716" actId="478"/>
          <ac:spMkLst>
            <pc:docMk/>
            <pc:sldMk cId="3968327367" sldId="3222"/>
            <ac:spMk id="15" creationId="{C1E23BB4-4029-4677-991F-F2172DC5746B}"/>
          </ac:spMkLst>
        </pc:spChg>
        <pc:spChg chg="add del mod">
          <ac:chgData name="Deshpande, Mayuri (T RDA FOA PAE-US)" userId="307bd999-17dd-4997-b1e2-139127ad27ac" providerId="ADAL" clId="{768E4A13-A73D-464F-B438-21CE62CAAFD3}" dt="2021-05-04T21:34:02.573" v="716" actId="478"/>
          <ac:spMkLst>
            <pc:docMk/>
            <pc:sldMk cId="3968327367" sldId="3222"/>
            <ac:spMk id="16" creationId="{7FFEDF4A-5BED-480D-8C9E-5CBC4DA59EC5}"/>
          </ac:spMkLst>
        </pc:spChg>
        <pc:spChg chg="add del mod">
          <ac:chgData name="Deshpande, Mayuri (T RDA FOA PAE-US)" userId="307bd999-17dd-4997-b1e2-139127ad27ac" providerId="ADAL" clId="{768E4A13-A73D-464F-B438-21CE62CAAFD3}" dt="2021-05-04T21:34:02.573" v="716" actId="478"/>
          <ac:spMkLst>
            <pc:docMk/>
            <pc:sldMk cId="3968327367" sldId="3222"/>
            <ac:spMk id="17" creationId="{C033F38C-1591-46BE-A758-D01E951B0DF5}"/>
          </ac:spMkLst>
        </pc:spChg>
        <pc:spChg chg="add del mod">
          <ac:chgData name="Deshpande, Mayuri (T RDA FOA PAE-US)" userId="307bd999-17dd-4997-b1e2-139127ad27ac" providerId="ADAL" clId="{768E4A13-A73D-464F-B438-21CE62CAAFD3}" dt="2021-05-04T21:34:02.573" v="716" actId="478"/>
          <ac:spMkLst>
            <pc:docMk/>
            <pc:sldMk cId="3968327367" sldId="3222"/>
            <ac:spMk id="18" creationId="{E39FFBD0-F55F-4A68-96B6-788BDDBF7C29}"/>
          </ac:spMkLst>
        </pc:spChg>
        <pc:spChg chg="add del mod">
          <ac:chgData name="Deshpande, Mayuri (T RDA FOA PAE-US)" userId="307bd999-17dd-4997-b1e2-139127ad27ac" providerId="ADAL" clId="{768E4A13-A73D-464F-B438-21CE62CAAFD3}" dt="2021-05-04T21:34:02.573" v="716" actId="478"/>
          <ac:spMkLst>
            <pc:docMk/>
            <pc:sldMk cId="3968327367" sldId="3222"/>
            <ac:spMk id="19" creationId="{1376B311-E0D4-423C-AA24-AEA3CC793073}"/>
          </ac:spMkLst>
        </pc:spChg>
        <pc:spChg chg="add del mod">
          <ac:chgData name="Deshpande, Mayuri (T RDA FOA PAE-US)" userId="307bd999-17dd-4997-b1e2-139127ad27ac" providerId="ADAL" clId="{768E4A13-A73D-464F-B438-21CE62CAAFD3}" dt="2021-05-04T21:34:02.573" v="716" actId="478"/>
          <ac:spMkLst>
            <pc:docMk/>
            <pc:sldMk cId="3968327367" sldId="3222"/>
            <ac:spMk id="20" creationId="{69F1A23B-6BE8-41CA-9269-6B6942DAA20D}"/>
          </ac:spMkLst>
        </pc:spChg>
        <pc:spChg chg="add del mod">
          <ac:chgData name="Deshpande, Mayuri (T RDA FOA PAE-US)" userId="307bd999-17dd-4997-b1e2-139127ad27ac" providerId="ADAL" clId="{768E4A13-A73D-464F-B438-21CE62CAAFD3}" dt="2021-05-04T21:34:02.573" v="716" actId="478"/>
          <ac:spMkLst>
            <pc:docMk/>
            <pc:sldMk cId="3968327367" sldId="3222"/>
            <ac:spMk id="21" creationId="{301B4C42-8096-49B0-87BD-B01EC32EEEF8}"/>
          </ac:spMkLst>
        </pc:spChg>
        <pc:spChg chg="add mod topLvl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22" creationId="{F6FE844B-A601-45E6-A87C-EBA085D21E50}"/>
          </ac:spMkLst>
        </pc:spChg>
        <pc:spChg chg="add mod topLvl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23" creationId="{5EE19E82-9788-4679-98F1-EC4981D96D3D}"/>
          </ac:spMkLst>
        </pc:spChg>
        <pc:spChg chg="add mod topLvl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30" creationId="{32C4B368-0244-48F3-8BD1-65440D92FBA0}"/>
          </ac:spMkLst>
        </pc:spChg>
        <pc:spChg chg="add mod topLvl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31" creationId="{FA678722-9C8F-484E-8321-1B90EF0C537E}"/>
          </ac:spMkLst>
        </pc:spChg>
        <pc:spChg chg="add mod topLvl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32" creationId="{19EA066B-C644-4D27-98D5-3501015EEFD3}"/>
          </ac:spMkLst>
        </pc:spChg>
        <pc:spChg chg="add mod topLvl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43" creationId="{639C2601-F90D-451B-B493-381CD519CA07}"/>
          </ac:spMkLst>
        </pc:spChg>
        <pc:spChg chg="add mod topLvl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44" creationId="{92FFCC10-5683-42C4-881B-E7DBC81B359B}"/>
          </ac:spMkLst>
        </pc:spChg>
        <pc:spChg chg="add del mod">
          <ac:chgData name="Deshpande, Mayuri (T RDA FOA PAE-US)" userId="307bd999-17dd-4997-b1e2-139127ad27ac" providerId="ADAL" clId="{768E4A13-A73D-464F-B438-21CE62CAAFD3}" dt="2021-05-04T22:13:21.312" v="1062" actId="478"/>
          <ac:spMkLst>
            <pc:docMk/>
            <pc:sldMk cId="3968327367" sldId="3222"/>
            <ac:spMk id="46" creationId="{7A8F7AE8-6E24-43E8-93C7-01CAE4EF3BFB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47" creationId="{47356349-D9AA-49BA-B90F-153178D75573}"/>
          </ac:spMkLst>
        </pc:spChg>
        <pc:spChg chg="add del mod">
          <ac:chgData name="Deshpande, Mayuri (T RDA FOA PAE-US)" userId="307bd999-17dd-4997-b1e2-139127ad27ac" providerId="ADAL" clId="{768E4A13-A73D-464F-B438-21CE62CAAFD3}" dt="2021-05-04T22:37:15.379" v="1313" actId="478"/>
          <ac:spMkLst>
            <pc:docMk/>
            <pc:sldMk cId="3968327367" sldId="3222"/>
            <ac:spMk id="48" creationId="{DE79C5B6-8A5A-4628-9AC4-76E2B4EA589A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57" creationId="{215E0EF9-3B68-411A-846F-E8FD65ECA628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69" creationId="{29EBFA03-981A-4373-8404-B810541CACF5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72" creationId="{6FFF710C-1C9D-4CB2-A249-315DB8214A56}"/>
          </ac:spMkLst>
        </pc:spChg>
        <pc:spChg chg="add del mod">
          <ac:chgData name="Deshpande, Mayuri (T RDA FOA PAE-US)" userId="307bd999-17dd-4997-b1e2-139127ad27ac" providerId="ADAL" clId="{768E4A13-A73D-464F-B438-21CE62CAAFD3}" dt="2021-05-04T22:46:36.597" v="1380" actId="478"/>
          <ac:spMkLst>
            <pc:docMk/>
            <pc:sldMk cId="3968327367" sldId="3222"/>
            <ac:spMk id="74" creationId="{271E3FE7-165B-454B-A7DF-C283583F42F0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78" creationId="{D9A3A28A-2860-4481-AA8A-F9AC72396C44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88" creationId="{82A1380A-A891-46FD-92BF-D101C8DBEF26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105" creationId="{208C4F18-4B90-499F-A845-48A046CE74BB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127" creationId="{9A29F53B-63D5-41FB-A04B-2CF80CD0DBC0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138" creationId="{55E31558-CF11-413C-A61D-99331E27D0B1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147" creationId="{0F6E0659-6FC7-48FA-B03E-414D2ACFCAE0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153" creationId="{62D75337-E66A-4CA1-9984-922836477300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162" creationId="{CCE9EE6B-1BD9-4660-AA0C-2D9C832202F0}"/>
          </ac:spMkLst>
        </pc:spChg>
        <pc:spChg chg="add del mod">
          <ac:chgData name="Deshpande, Mayuri (T RDA FOA PAE-US)" userId="307bd999-17dd-4997-b1e2-139127ad27ac" providerId="ADAL" clId="{768E4A13-A73D-464F-B438-21CE62CAAFD3}" dt="2021-05-04T23:00:23.446" v="1604" actId="478"/>
          <ac:spMkLst>
            <pc:docMk/>
            <pc:sldMk cId="3968327367" sldId="3222"/>
            <ac:spMk id="166" creationId="{948647F4-8CAB-458C-A042-3CA7F0E05578}"/>
          </ac:spMkLst>
        </pc:spChg>
        <pc:spChg chg="add del">
          <ac:chgData name="Deshpande, Mayuri (T RDA FOA PAE-US)" userId="307bd999-17dd-4997-b1e2-139127ad27ac" providerId="ADAL" clId="{768E4A13-A73D-464F-B438-21CE62CAAFD3}" dt="2021-05-04T23:07:36.489" v="1693" actId="11529"/>
          <ac:spMkLst>
            <pc:docMk/>
            <pc:sldMk cId="3968327367" sldId="3222"/>
            <ac:spMk id="184" creationId="{E7AA3E73-6697-404D-AA14-1CE5591F5A47}"/>
          </ac:spMkLst>
        </pc:spChg>
        <pc:spChg chg="add mod">
          <ac:chgData name="Deshpande, Mayuri (T RDA FOA PAE-US)" userId="307bd999-17dd-4997-b1e2-139127ad27ac" providerId="ADAL" clId="{768E4A13-A73D-464F-B438-21CE62CAAFD3}" dt="2021-05-04T23:17:18.625" v="1922" actId="115"/>
          <ac:spMkLst>
            <pc:docMk/>
            <pc:sldMk cId="3968327367" sldId="3222"/>
            <ac:spMk id="194" creationId="{51718707-C432-4110-90BF-AE03CA2BC255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221" creationId="{C015D753-736A-4AE3-ACE0-49F5BE6A39E1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229" creationId="{714FB82C-0A9A-46E1-87D2-79E962510AEF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230" creationId="{CA8EA532-9B12-44EA-984A-567F9D31098D}"/>
          </ac:spMkLst>
        </pc:spChg>
        <pc:spChg chg="add mod">
          <ac:chgData name="Deshpande, Mayuri (T RDA FOA PAE-US)" userId="307bd999-17dd-4997-b1e2-139127ad27ac" providerId="ADAL" clId="{768E4A13-A73D-464F-B438-21CE62CAAFD3}" dt="2021-05-04T23:12:48.025" v="1761" actId="1076"/>
          <ac:spMkLst>
            <pc:docMk/>
            <pc:sldMk cId="3968327367" sldId="3222"/>
            <ac:spMk id="231" creationId="{7DD8F22B-7F3C-4E14-826D-B56D9BF88F3E}"/>
          </ac:spMkLst>
        </pc:spChg>
        <pc:grpChg chg="add del mod">
          <ac:chgData name="Deshpande, Mayuri (T RDA FOA PAE-US)" userId="307bd999-17dd-4997-b1e2-139127ad27ac" providerId="ADAL" clId="{768E4A13-A73D-464F-B438-21CE62CAAFD3}" dt="2021-05-04T22:40:01.868" v="1323" actId="165"/>
          <ac:grpSpMkLst>
            <pc:docMk/>
            <pc:sldMk cId="3968327367" sldId="3222"/>
            <ac:grpSpMk id="45" creationId="{0A2CC8EF-FCBB-4207-85B1-0E97D897436B}"/>
          </ac:grpSpMkLst>
        </pc:grpChg>
        <pc:grpChg chg="add mod">
          <ac:chgData name="Deshpande, Mayuri (T RDA FOA PAE-US)" userId="307bd999-17dd-4997-b1e2-139127ad27ac" providerId="ADAL" clId="{768E4A13-A73D-464F-B438-21CE62CAAFD3}" dt="2021-05-04T23:12:48.025" v="1761" actId="1076"/>
          <ac:grpSpMkLst>
            <pc:docMk/>
            <pc:sldMk cId="3968327367" sldId="3222"/>
            <ac:grpSpMk id="1024" creationId="{98017293-FB6D-4DBE-98F1-AD62504B1AAA}"/>
          </ac:grpSpMkLst>
        </pc:grpChg>
        <pc:picChg chg="add del mod">
          <ac:chgData name="Deshpande, Mayuri (T RDA FOA PAE-US)" userId="307bd999-17dd-4997-b1e2-139127ad27ac" providerId="ADAL" clId="{768E4A13-A73D-464F-B438-21CE62CAAFD3}" dt="2021-05-04T21:33:54.758" v="715" actId="478"/>
          <ac:picMkLst>
            <pc:docMk/>
            <pc:sldMk cId="3968327367" sldId="3222"/>
            <ac:picMk id="13" creationId="{6FCBD655-2AEB-4639-9BFC-161753F1159E}"/>
          </ac:picMkLst>
        </pc:picChg>
        <pc:picChg chg="add mod topLvl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25" creationId="{F03AC517-B82F-4D03-9CBE-FDF5DA6E13AA}"/>
          </ac:picMkLst>
        </pc:picChg>
        <pc:picChg chg="add mod topLvl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27" creationId="{7BCCE38C-F942-4AAA-9CC7-D680BFA41298}"/>
          </ac:picMkLst>
        </pc:picChg>
        <pc:picChg chg="add mod topLvl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29" creationId="{5125A73C-8705-458F-832A-635E54D1CDAC}"/>
          </ac:picMkLst>
        </pc:picChg>
        <pc:picChg chg="add del mod">
          <ac:chgData name="Deshpande, Mayuri (T RDA FOA PAE-US)" userId="307bd999-17dd-4997-b1e2-139127ad27ac" providerId="ADAL" clId="{768E4A13-A73D-464F-B438-21CE62CAAFD3}" dt="2021-05-04T21:57:24.465" v="856" actId="478"/>
          <ac:picMkLst>
            <pc:docMk/>
            <pc:sldMk cId="3968327367" sldId="3222"/>
            <ac:picMk id="38" creationId="{A348DBB4-3510-490C-8302-04079EE2BE1A}"/>
          </ac:picMkLst>
        </pc:picChg>
        <pc:picChg chg="add del mod topLvl">
          <ac:chgData name="Deshpande, Mayuri (T RDA FOA PAE-US)" userId="307bd999-17dd-4997-b1e2-139127ad27ac" providerId="ADAL" clId="{768E4A13-A73D-464F-B438-21CE62CAAFD3}" dt="2021-05-04T22:40:47.716" v="1332" actId="478"/>
          <ac:picMkLst>
            <pc:docMk/>
            <pc:sldMk cId="3968327367" sldId="3222"/>
            <ac:picMk id="40" creationId="{7020114D-15FA-4C82-A3AA-4DEBB6F27A27}"/>
          </ac:picMkLst>
        </pc:picChg>
        <pc:picChg chg="add del mod topLvl">
          <ac:chgData name="Deshpande, Mayuri (T RDA FOA PAE-US)" userId="307bd999-17dd-4997-b1e2-139127ad27ac" providerId="ADAL" clId="{768E4A13-A73D-464F-B438-21CE62CAAFD3}" dt="2021-05-04T22:40:47.716" v="1332" actId="478"/>
          <ac:picMkLst>
            <pc:docMk/>
            <pc:sldMk cId="3968327367" sldId="3222"/>
            <ac:picMk id="41" creationId="{53CA3324-5A02-4189-8B04-F82630313BB8}"/>
          </ac:picMkLst>
        </pc:picChg>
        <pc:picChg chg="add del mod topLvl">
          <ac:chgData name="Deshpande, Mayuri (T RDA FOA PAE-US)" userId="307bd999-17dd-4997-b1e2-139127ad27ac" providerId="ADAL" clId="{768E4A13-A73D-464F-B438-21CE62CAAFD3}" dt="2021-05-04T22:40:47.716" v="1332" actId="478"/>
          <ac:picMkLst>
            <pc:docMk/>
            <pc:sldMk cId="3968327367" sldId="3222"/>
            <ac:picMk id="42" creationId="{AAC100EB-BF45-42C8-82B8-23DA6CCD25AD}"/>
          </ac:picMkLst>
        </pc:picChg>
        <pc:picChg chg="add del mod">
          <ac:chgData name="Deshpande, Mayuri (T RDA FOA PAE-US)" userId="307bd999-17dd-4997-b1e2-139127ad27ac" providerId="ADAL" clId="{768E4A13-A73D-464F-B438-21CE62CAAFD3}" dt="2021-05-04T22:19:24.971" v="1156" actId="478"/>
          <ac:picMkLst>
            <pc:docMk/>
            <pc:sldMk cId="3968327367" sldId="3222"/>
            <ac:picMk id="50" creationId="{E85CBBCE-8DF6-4DE6-A8DF-0366FB50F04B}"/>
          </ac:picMkLst>
        </pc:picChg>
        <pc:picChg chg="add del mod">
          <ac:chgData name="Deshpande, Mayuri (T RDA FOA PAE-US)" userId="307bd999-17dd-4997-b1e2-139127ad27ac" providerId="ADAL" clId="{768E4A13-A73D-464F-B438-21CE62CAAFD3}" dt="2021-05-04T22:19:23.134" v="1155" actId="478"/>
          <ac:picMkLst>
            <pc:docMk/>
            <pc:sldMk cId="3968327367" sldId="3222"/>
            <ac:picMk id="52" creationId="{D5DF3D20-86AA-4FB9-AA2F-D6E37E280AE2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54" creationId="{373AF503-4F98-46A6-9D8C-B6517CB56A4E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56" creationId="{CF30D28C-B4FA-4106-B1B6-F10009BC4540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59" creationId="{FFB61587-5CA0-45F9-B4EE-B65B16AFE8A2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61" creationId="{3500DAD3-4BFC-4C79-ABA5-3520F84AE693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63" creationId="{281B05AA-19E7-4B4F-B199-222D4884898E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71" creationId="{7EF47179-0C85-4EC1-8631-22C5432484B5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73" creationId="{183D936C-724D-401B-8DFC-B8A5372679E6}"/>
          </ac:picMkLst>
        </pc:picChg>
        <pc:picChg chg="add del mod">
          <ac:chgData name="Deshpande, Mayuri (T RDA FOA PAE-US)" userId="307bd999-17dd-4997-b1e2-139127ad27ac" providerId="ADAL" clId="{768E4A13-A73D-464F-B438-21CE62CAAFD3}" dt="2021-05-04T22:50:48.583" v="1460" actId="478"/>
          <ac:picMkLst>
            <pc:docMk/>
            <pc:sldMk cId="3968327367" sldId="3222"/>
            <ac:picMk id="75" creationId="{A926F150-1C4E-40B9-A1E1-7CFEE3C0A320}"/>
          </ac:picMkLst>
        </pc:picChg>
        <pc:picChg chg="add del mod">
          <ac:chgData name="Deshpande, Mayuri (T RDA FOA PAE-US)" userId="307bd999-17dd-4997-b1e2-139127ad27ac" providerId="ADAL" clId="{768E4A13-A73D-464F-B438-21CE62CAAFD3}" dt="2021-05-04T22:45:20.101" v="1367" actId="478"/>
          <ac:picMkLst>
            <pc:docMk/>
            <pc:sldMk cId="3968327367" sldId="3222"/>
            <ac:picMk id="89" creationId="{17071B81-CA4F-4EE3-BF72-43B3F807F14B}"/>
          </ac:picMkLst>
        </pc:picChg>
        <pc:picChg chg="add del mod">
          <ac:chgData name="Deshpande, Mayuri (T RDA FOA PAE-US)" userId="307bd999-17dd-4997-b1e2-139127ad27ac" providerId="ADAL" clId="{768E4A13-A73D-464F-B438-21CE62CAAFD3}" dt="2021-05-04T22:50:48.583" v="1460" actId="478"/>
          <ac:picMkLst>
            <pc:docMk/>
            <pc:sldMk cId="3968327367" sldId="3222"/>
            <ac:picMk id="90" creationId="{B3CAB999-9BCC-4B2F-A164-D272AC5452BF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112" creationId="{75E144BD-7F2B-4EBE-BDB8-95BDB8F0A811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159" creationId="{D6E596C1-383C-43FB-B323-FA673A478794}"/>
          </ac:picMkLst>
        </pc:picChg>
        <pc:picChg chg="add del mod">
          <ac:chgData name="Deshpande, Mayuri (T RDA FOA PAE-US)" userId="307bd999-17dd-4997-b1e2-139127ad27ac" providerId="ADAL" clId="{768E4A13-A73D-464F-B438-21CE62CAAFD3}" dt="2021-05-04T22:03:16.593" v="907" actId="478"/>
          <ac:picMkLst>
            <pc:docMk/>
            <pc:sldMk cId="3968327367" sldId="3222"/>
            <ac:picMk id="1026" creationId="{E49A8138-CA2F-4B0D-87DC-2C20B6CB5D8C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1027" creationId="{5536108A-B03E-4190-911D-7BEA4789053F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1028" creationId="{E9B4C34D-DC4B-4C4D-A187-2B51D4025E5C}"/>
          </ac:picMkLst>
        </pc:picChg>
        <pc:picChg chg="add mod">
          <ac:chgData name="Deshpande, Mayuri (T RDA FOA PAE-US)" userId="307bd999-17dd-4997-b1e2-139127ad27ac" providerId="ADAL" clId="{768E4A13-A73D-464F-B438-21CE62CAAFD3}" dt="2021-05-04T23:12:48.025" v="1761" actId="1076"/>
          <ac:picMkLst>
            <pc:docMk/>
            <pc:sldMk cId="3968327367" sldId="3222"/>
            <ac:picMk id="1030" creationId="{2DE983D4-DB17-44EA-820A-2D8128A9B7DE}"/>
          </ac:picMkLst>
        </pc:picChg>
        <pc:cxnChg chg="add del mod">
          <ac:chgData name="Deshpande, Mayuri (T RDA FOA PAE-US)" userId="307bd999-17dd-4997-b1e2-139127ad27ac" providerId="ADAL" clId="{768E4A13-A73D-464F-B438-21CE62CAAFD3}" dt="2021-05-04T21:55:25.267" v="832" actId="478"/>
          <ac:cxnSpMkLst>
            <pc:docMk/>
            <pc:sldMk cId="3968327367" sldId="3222"/>
            <ac:cxnSpMk id="34" creationId="{A7B79C39-59A2-4831-A34D-ECA98D4E57E2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83" creationId="{C4E31321-8B30-4F5E-B253-E3311CCBF246}"/>
          </ac:cxnSpMkLst>
        </pc:cxnChg>
        <pc:cxnChg chg="add del mod">
          <ac:chgData name="Deshpande, Mayuri (T RDA FOA PAE-US)" userId="307bd999-17dd-4997-b1e2-139127ad27ac" providerId="ADAL" clId="{768E4A13-A73D-464F-B438-21CE62CAAFD3}" dt="2021-05-04T22:52:13.321" v="1485" actId="478"/>
          <ac:cxnSpMkLst>
            <pc:docMk/>
            <pc:sldMk cId="3968327367" sldId="3222"/>
            <ac:cxnSpMk id="86" creationId="{2A090A6A-CC4B-4844-B312-17B7AD7DEFBB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96" creationId="{F886827A-CB40-4F76-8BAA-E2F87B066F76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98" creationId="{C7CA1C3C-37FE-46B0-A5F2-F00E7672BF25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11" creationId="{C1733D91-DB17-4CF0-BAFD-16DA94945797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14" creationId="{C7B02ABD-2460-4EF2-9B3F-BFF89F3F93CE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17" creationId="{BD801F07-172A-4DDE-A2C2-239943E29FDC}"/>
          </ac:cxnSpMkLst>
        </pc:cxnChg>
        <pc:cxnChg chg="add del mod">
          <ac:chgData name="Deshpande, Mayuri (T RDA FOA PAE-US)" userId="307bd999-17dd-4997-b1e2-139127ad27ac" providerId="ADAL" clId="{768E4A13-A73D-464F-B438-21CE62CAAFD3}" dt="2021-05-04T22:57:15.085" v="1563" actId="478"/>
          <ac:cxnSpMkLst>
            <pc:docMk/>
            <pc:sldMk cId="3968327367" sldId="3222"/>
            <ac:cxnSpMk id="119" creationId="{D520C44C-3E39-482F-9E5B-10061C6C75E6}"/>
          </ac:cxnSpMkLst>
        </pc:cxnChg>
        <pc:cxnChg chg="add del mod">
          <ac:chgData name="Deshpande, Mayuri (T RDA FOA PAE-US)" userId="307bd999-17dd-4997-b1e2-139127ad27ac" providerId="ADAL" clId="{768E4A13-A73D-464F-B438-21CE62CAAFD3}" dt="2021-05-04T23:04:42.990" v="1672" actId="478"/>
          <ac:cxnSpMkLst>
            <pc:docMk/>
            <pc:sldMk cId="3968327367" sldId="3222"/>
            <ac:cxnSpMk id="121" creationId="{2EA06E14-448C-4D7A-B582-0A67C642226F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24" creationId="{FF02B33F-2F79-4559-90FD-5934568AB5F7}"/>
          </ac:cxnSpMkLst>
        </pc:cxnChg>
        <pc:cxnChg chg="add del mod">
          <ac:chgData name="Deshpande, Mayuri (T RDA FOA PAE-US)" userId="307bd999-17dd-4997-b1e2-139127ad27ac" providerId="ADAL" clId="{768E4A13-A73D-464F-B438-21CE62CAAFD3}" dt="2021-05-04T23:00:26.212" v="1605" actId="478"/>
          <ac:cxnSpMkLst>
            <pc:docMk/>
            <pc:sldMk cId="3968327367" sldId="3222"/>
            <ac:cxnSpMk id="128" creationId="{E43E531A-3FD0-4BC9-A70A-22722752772D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78" creationId="{DC496DC1-CBFE-4776-9C90-7AF42DF42D90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88" creationId="{4E5EFC11-41AD-4BA8-93C0-051BF55DB196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211" creationId="{00EFBF6E-3A0A-4CBF-B854-3D9F8363C5B6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212" creationId="{3856F0D7-5B7A-43BB-9B29-A8F661509F3D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031" creationId="{E021C183-54FE-43FF-89C2-B2E6E35AB331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033" creationId="{86237CFB-4EB2-4A78-92CF-E3867987CF58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035" creationId="{414C0268-4EE0-4AC3-A24D-883340817E18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042" creationId="{BD6C1C5A-7E21-4A57-B8C2-D8987B037013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046" creationId="{6D219EFD-F76C-4259-A326-BDF107116DBC}"/>
          </ac:cxnSpMkLst>
        </pc:cxnChg>
        <pc:cxnChg chg="add mod">
          <ac:chgData name="Deshpande, Mayuri (T RDA FOA PAE-US)" userId="307bd999-17dd-4997-b1e2-139127ad27ac" providerId="ADAL" clId="{768E4A13-A73D-464F-B438-21CE62CAAFD3}" dt="2021-05-04T23:12:48.025" v="1761" actId="1076"/>
          <ac:cxnSpMkLst>
            <pc:docMk/>
            <pc:sldMk cId="3968327367" sldId="3222"/>
            <ac:cxnSpMk id="1052" creationId="{C7DC3102-EAFF-4FF3-8EF3-543D8BA7D4A3}"/>
          </ac:cxnSpMkLst>
        </pc:cxnChg>
      </pc:sldChg>
      <pc:sldChg chg="addSp delSp modSp add mod delCm modCm">
        <pc:chgData name="Deshpande, Mayuri (T RDA FOA PAE-US)" userId="307bd999-17dd-4997-b1e2-139127ad27ac" providerId="ADAL" clId="{768E4A13-A73D-464F-B438-21CE62CAAFD3}" dt="2021-05-11T11:51:48.577" v="2081" actId="14100"/>
        <pc:sldMkLst>
          <pc:docMk/>
          <pc:sldMk cId="1744370644" sldId="3223"/>
        </pc:sldMkLst>
        <pc:spChg chg="mod">
          <ac:chgData name="Deshpande, Mayuri (T RDA FOA PAE-US)" userId="307bd999-17dd-4997-b1e2-139127ad27ac" providerId="ADAL" clId="{768E4A13-A73D-464F-B438-21CE62CAAFD3}" dt="2021-05-11T11:50:11.486" v="2069" actId="404"/>
          <ac:spMkLst>
            <pc:docMk/>
            <pc:sldMk cId="1744370644" sldId="3223"/>
            <ac:spMk id="2" creationId="{14ACD0C2-6090-4DF0-A9D8-E08645C49A9D}"/>
          </ac:spMkLst>
        </pc:spChg>
        <pc:spChg chg="del">
          <ac:chgData name="Deshpande, Mayuri (T RDA FOA PAE-US)" userId="307bd999-17dd-4997-b1e2-139127ad27ac" providerId="ADAL" clId="{768E4A13-A73D-464F-B438-21CE62CAAFD3}" dt="2021-05-11T11:39:34.867" v="1924" actId="478"/>
          <ac:spMkLst>
            <pc:docMk/>
            <pc:sldMk cId="1744370644" sldId="3223"/>
            <ac:spMk id="22" creationId="{F6FE844B-A601-45E6-A87C-EBA085D21E50}"/>
          </ac:spMkLst>
        </pc:spChg>
        <pc:spChg chg="del">
          <ac:chgData name="Deshpande, Mayuri (T RDA FOA PAE-US)" userId="307bd999-17dd-4997-b1e2-139127ad27ac" providerId="ADAL" clId="{768E4A13-A73D-464F-B438-21CE62CAAFD3}" dt="2021-05-11T11:39:34.867" v="1924" actId="478"/>
          <ac:spMkLst>
            <pc:docMk/>
            <pc:sldMk cId="1744370644" sldId="3223"/>
            <ac:spMk id="23" creationId="{5EE19E82-9788-4679-98F1-EC4981D96D3D}"/>
          </ac:spMkLst>
        </pc:spChg>
        <pc:spChg chg="del">
          <ac:chgData name="Deshpande, Mayuri (T RDA FOA PAE-US)" userId="307bd999-17dd-4997-b1e2-139127ad27ac" providerId="ADAL" clId="{768E4A13-A73D-464F-B438-21CE62CAAFD3}" dt="2021-05-11T11:39:34.867" v="1924" actId="478"/>
          <ac:spMkLst>
            <pc:docMk/>
            <pc:sldMk cId="1744370644" sldId="3223"/>
            <ac:spMk id="30" creationId="{32C4B368-0244-48F3-8BD1-65440D92FBA0}"/>
          </ac:spMkLst>
        </pc:spChg>
        <pc:spChg chg="del">
          <ac:chgData name="Deshpande, Mayuri (T RDA FOA PAE-US)" userId="307bd999-17dd-4997-b1e2-139127ad27ac" providerId="ADAL" clId="{768E4A13-A73D-464F-B438-21CE62CAAFD3}" dt="2021-05-11T11:39:34.867" v="1924" actId="478"/>
          <ac:spMkLst>
            <pc:docMk/>
            <pc:sldMk cId="1744370644" sldId="3223"/>
            <ac:spMk id="31" creationId="{FA678722-9C8F-484E-8321-1B90EF0C537E}"/>
          </ac:spMkLst>
        </pc:spChg>
        <pc:spChg chg="del">
          <ac:chgData name="Deshpande, Mayuri (T RDA FOA PAE-US)" userId="307bd999-17dd-4997-b1e2-139127ad27ac" providerId="ADAL" clId="{768E4A13-A73D-464F-B438-21CE62CAAFD3}" dt="2021-05-11T11:39:34.867" v="1924" actId="478"/>
          <ac:spMkLst>
            <pc:docMk/>
            <pc:sldMk cId="1744370644" sldId="3223"/>
            <ac:spMk id="32" creationId="{19EA066B-C644-4D27-98D5-3501015EEFD3}"/>
          </ac:spMkLst>
        </pc:spChg>
        <pc:spChg chg="del">
          <ac:chgData name="Deshpande, Mayuri (T RDA FOA PAE-US)" userId="307bd999-17dd-4997-b1e2-139127ad27ac" providerId="ADAL" clId="{768E4A13-A73D-464F-B438-21CE62CAAFD3}" dt="2021-05-11T11:39:34.867" v="1924" actId="478"/>
          <ac:spMkLst>
            <pc:docMk/>
            <pc:sldMk cId="1744370644" sldId="3223"/>
            <ac:spMk id="43" creationId="{639C2601-F90D-451B-B493-381CD519CA07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44" creationId="{92FFCC10-5683-42C4-881B-E7DBC81B359B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47" creationId="{47356349-D9AA-49BA-B90F-153178D75573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57" creationId="{215E0EF9-3B68-411A-846F-E8FD65ECA628}"/>
          </ac:spMkLst>
        </pc:spChg>
        <pc:spChg chg="add mod">
          <ac:chgData name="Deshpande, Mayuri (T RDA FOA PAE-US)" userId="307bd999-17dd-4997-b1e2-139127ad27ac" providerId="ADAL" clId="{768E4A13-A73D-464F-B438-21CE62CAAFD3}" dt="2021-05-11T11:51:48.577" v="2081" actId="14100"/>
          <ac:spMkLst>
            <pc:docMk/>
            <pc:sldMk cId="1744370644" sldId="3223"/>
            <ac:spMk id="62" creationId="{ADA5EE67-97B1-4D1B-A275-CFF85202E43B}"/>
          </ac:spMkLst>
        </pc:spChg>
        <pc:spChg chg="add mod">
          <ac:chgData name="Deshpande, Mayuri (T RDA FOA PAE-US)" userId="307bd999-17dd-4997-b1e2-139127ad27ac" providerId="ADAL" clId="{768E4A13-A73D-464F-B438-21CE62CAAFD3}" dt="2021-05-11T11:50:58.255" v="2073" actId="1076"/>
          <ac:spMkLst>
            <pc:docMk/>
            <pc:sldMk cId="1744370644" sldId="3223"/>
            <ac:spMk id="64" creationId="{D58D02E1-3416-41C8-8FF3-8BD7A1858A46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69" creationId="{29EBFA03-981A-4373-8404-B810541CACF5}"/>
          </ac:spMkLst>
        </pc:spChg>
        <pc:spChg chg="mod">
          <ac:chgData name="Deshpande, Mayuri (T RDA FOA PAE-US)" userId="307bd999-17dd-4997-b1e2-139127ad27ac" providerId="ADAL" clId="{768E4A13-A73D-464F-B438-21CE62CAAFD3}" dt="2021-05-11T11:51:13.915" v="2075" actId="1076"/>
          <ac:spMkLst>
            <pc:docMk/>
            <pc:sldMk cId="1744370644" sldId="3223"/>
            <ac:spMk id="72" creationId="{6FFF710C-1C9D-4CB2-A249-315DB8214A56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78" creationId="{D9A3A28A-2860-4481-AA8A-F9AC72396C44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88" creationId="{82A1380A-A891-46FD-92BF-D101C8DBEF26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105" creationId="{208C4F18-4B90-499F-A845-48A046CE74BB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127" creationId="{9A29F53B-63D5-41FB-A04B-2CF80CD0DBC0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138" creationId="{55E31558-CF11-413C-A61D-99331E27D0B1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147" creationId="{0F6E0659-6FC7-48FA-B03E-414D2ACFCAE0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153" creationId="{62D75337-E66A-4CA1-9984-922836477300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162" creationId="{CCE9EE6B-1BD9-4660-AA0C-2D9C832202F0}"/>
          </ac:spMkLst>
        </pc:spChg>
        <pc:spChg chg="add del mod">
          <ac:chgData name="Deshpande, Mayuri (T RDA FOA PAE-US)" userId="307bd999-17dd-4997-b1e2-139127ad27ac" providerId="ADAL" clId="{768E4A13-A73D-464F-B438-21CE62CAAFD3}" dt="2021-05-11T11:46:40.377" v="2001" actId="404"/>
          <ac:spMkLst>
            <pc:docMk/>
            <pc:sldMk cId="1744370644" sldId="3223"/>
            <ac:spMk id="194" creationId="{51718707-C432-4110-90BF-AE03CA2BC255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221" creationId="{C015D753-736A-4AE3-ACE0-49F5BE6A39E1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229" creationId="{714FB82C-0A9A-46E1-87D2-79E962510AEF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230" creationId="{CA8EA532-9B12-44EA-984A-567F9D31098D}"/>
          </ac:spMkLst>
        </pc:spChg>
        <pc:spChg chg="mod">
          <ac:chgData name="Deshpande, Mayuri (T RDA FOA PAE-US)" userId="307bd999-17dd-4997-b1e2-139127ad27ac" providerId="ADAL" clId="{768E4A13-A73D-464F-B438-21CE62CAAFD3}" dt="2021-05-11T11:51:09.524" v="2074" actId="1076"/>
          <ac:spMkLst>
            <pc:docMk/>
            <pc:sldMk cId="1744370644" sldId="3223"/>
            <ac:spMk id="231" creationId="{7DD8F22B-7F3C-4E14-826D-B56D9BF88F3E}"/>
          </ac:spMkLst>
        </pc:spChg>
        <pc:grpChg chg="mod">
          <ac:chgData name="Deshpande, Mayuri (T RDA FOA PAE-US)" userId="307bd999-17dd-4997-b1e2-139127ad27ac" providerId="ADAL" clId="{768E4A13-A73D-464F-B438-21CE62CAAFD3}" dt="2021-05-11T11:51:09.524" v="2074" actId="1076"/>
          <ac:grpSpMkLst>
            <pc:docMk/>
            <pc:sldMk cId="1744370644" sldId="3223"/>
            <ac:grpSpMk id="1024" creationId="{98017293-FB6D-4DBE-98F1-AD62504B1AAA}"/>
          </ac:grpSpMkLst>
        </pc:grpChg>
        <pc:picChg chg="del">
          <ac:chgData name="Deshpande, Mayuri (T RDA FOA PAE-US)" userId="307bd999-17dd-4997-b1e2-139127ad27ac" providerId="ADAL" clId="{768E4A13-A73D-464F-B438-21CE62CAAFD3}" dt="2021-05-11T11:39:34.867" v="1924" actId="478"/>
          <ac:picMkLst>
            <pc:docMk/>
            <pc:sldMk cId="1744370644" sldId="3223"/>
            <ac:picMk id="25" creationId="{F03AC517-B82F-4D03-9CBE-FDF5DA6E13AA}"/>
          </ac:picMkLst>
        </pc:picChg>
        <pc:picChg chg="del">
          <ac:chgData name="Deshpande, Mayuri (T RDA FOA PAE-US)" userId="307bd999-17dd-4997-b1e2-139127ad27ac" providerId="ADAL" clId="{768E4A13-A73D-464F-B438-21CE62CAAFD3}" dt="2021-05-11T11:39:34.867" v="1924" actId="478"/>
          <ac:picMkLst>
            <pc:docMk/>
            <pc:sldMk cId="1744370644" sldId="3223"/>
            <ac:picMk id="27" creationId="{7BCCE38C-F942-4AAA-9CC7-D680BFA41298}"/>
          </ac:picMkLst>
        </pc:picChg>
        <pc:picChg chg="del">
          <ac:chgData name="Deshpande, Mayuri (T RDA FOA PAE-US)" userId="307bd999-17dd-4997-b1e2-139127ad27ac" providerId="ADAL" clId="{768E4A13-A73D-464F-B438-21CE62CAAFD3}" dt="2021-05-11T11:39:34.867" v="1924" actId="478"/>
          <ac:picMkLst>
            <pc:docMk/>
            <pc:sldMk cId="1744370644" sldId="3223"/>
            <ac:picMk id="29" creationId="{5125A73C-8705-458F-832A-635E54D1CDAC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54" creationId="{373AF503-4F98-46A6-9D8C-B6517CB56A4E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56" creationId="{CF30D28C-B4FA-4106-B1B6-F10009BC4540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59" creationId="{FFB61587-5CA0-45F9-B4EE-B65B16AFE8A2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61" creationId="{3500DAD3-4BFC-4C79-ABA5-3520F84AE693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63" creationId="{281B05AA-19E7-4B4F-B199-222D4884898E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71" creationId="{7EF47179-0C85-4EC1-8631-22C5432484B5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73" creationId="{183D936C-724D-401B-8DFC-B8A5372679E6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112" creationId="{75E144BD-7F2B-4EBE-BDB8-95BDB8F0A811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159" creationId="{D6E596C1-383C-43FB-B323-FA673A478794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1027" creationId="{5536108A-B03E-4190-911D-7BEA4789053F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1028" creationId="{E9B4C34D-DC4B-4C4D-A187-2B51D4025E5C}"/>
          </ac:picMkLst>
        </pc:picChg>
        <pc:picChg chg="mod">
          <ac:chgData name="Deshpande, Mayuri (T RDA FOA PAE-US)" userId="307bd999-17dd-4997-b1e2-139127ad27ac" providerId="ADAL" clId="{768E4A13-A73D-464F-B438-21CE62CAAFD3}" dt="2021-05-11T11:51:09.524" v="2074" actId="1076"/>
          <ac:picMkLst>
            <pc:docMk/>
            <pc:sldMk cId="1744370644" sldId="3223"/>
            <ac:picMk id="1030" creationId="{2DE983D4-DB17-44EA-820A-2D8128A9B7DE}"/>
          </ac:picMkLst>
        </pc:pic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83" creationId="{C4E31321-8B30-4F5E-B253-E3311CCBF246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96" creationId="{F886827A-CB40-4F76-8BAA-E2F87B066F76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98" creationId="{C7CA1C3C-37FE-46B0-A5F2-F00E7672BF25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111" creationId="{C1733D91-DB17-4CF0-BAFD-16DA94945797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114" creationId="{C7B02ABD-2460-4EF2-9B3F-BFF89F3F93CE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117" creationId="{BD801F07-172A-4DDE-A2C2-239943E29FDC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124" creationId="{FF02B33F-2F79-4559-90FD-5934568AB5F7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178" creationId="{DC496DC1-CBFE-4776-9C90-7AF42DF42D90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188" creationId="{4E5EFC11-41AD-4BA8-93C0-051BF55DB196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211" creationId="{00EFBF6E-3A0A-4CBF-B854-3D9F8363C5B6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212" creationId="{3856F0D7-5B7A-43BB-9B29-A8F661509F3D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1031" creationId="{E021C183-54FE-43FF-89C2-B2E6E35AB331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1033" creationId="{86237CFB-4EB2-4A78-92CF-E3867987CF58}"/>
          </ac:cxnSpMkLst>
        </pc:cxnChg>
        <pc:cxnChg chg="mod">
          <ac:chgData name="Deshpande, Mayuri (T RDA FOA PAE-US)" userId="307bd999-17dd-4997-b1e2-139127ad27ac" providerId="ADAL" clId="{768E4A13-A73D-464F-B438-21CE62CAAFD3}" dt="2021-05-11T11:51:09.524" v="2074" actId="1076"/>
          <ac:cxnSpMkLst>
            <pc:docMk/>
            <pc:sldMk cId="1744370644" sldId="3223"/>
            <ac:cxnSpMk id="1035" creationId="{414C0268-4EE0-4AC3-A24D-883340817E18}"/>
          </ac:cxnSpMkLst>
        </pc:cxnChg>
        <pc:cxnChg chg="del mod">
          <ac:chgData name="Deshpande, Mayuri (T RDA FOA PAE-US)" userId="307bd999-17dd-4997-b1e2-139127ad27ac" providerId="ADAL" clId="{768E4A13-A73D-464F-B438-21CE62CAAFD3}" dt="2021-05-11T11:39:34.867" v="1924" actId="478"/>
          <ac:cxnSpMkLst>
            <pc:docMk/>
            <pc:sldMk cId="1744370644" sldId="3223"/>
            <ac:cxnSpMk id="1042" creationId="{BD6C1C5A-7E21-4A57-B8C2-D8987B037013}"/>
          </ac:cxnSpMkLst>
        </pc:cxnChg>
        <pc:cxnChg chg="del mod">
          <ac:chgData name="Deshpande, Mayuri (T RDA FOA PAE-US)" userId="307bd999-17dd-4997-b1e2-139127ad27ac" providerId="ADAL" clId="{768E4A13-A73D-464F-B438-21CE62CAAFD3}" dt="2021-05-11T11:39:34.867" v="1924" actId="478"/>
          <ac:cxnSpMkLst>
            <pc:docMk/>
            <pc:sldMk cId="1744370644" sldId="3223"/>
            <ac:cxnSpMk id="1046" creationId="{6D219EFD-F76C-4259-A326-BDF107116DBC}"/>
          </ac:cxnSpMkLst>
        </pc:cxnChg>
        <pc:cxnChg chg="del mod">
          <ac:chgData name="Deshpande, Mayuri (T RDA FOA PAE-US)" userId="307bd999-17dd-4997-b1e2-139127ad27ac" providerId="ADAL" clId="{768E4A13-A73D-464F-B438-21CE62CAAFD3}" dt="2021-05-11T11:39:34.867" v="1924" actId="478"/>
          <ac:cxnSpMkLst>
            <pc:docMk/>
            <pc:sldMk cId="1744370644" sldId="3223"/>
            <ac:cxnSpMk id="1052" creationId="{C7DC3102-EAFF-4FF3-8EF3-543D8BA7D4A3}"/>
          </ac:cxnSpMkLst>
        </pc:cxnChg>
      </pc:sldChg>
      <pc:sldChg chg="addSp delSp modSp new mod ord">
        <pc:chgData name="Deshpande, Mayuri (T RDA FOA PAE-US)" userId="307bd999-17dd-4997-b1e2-139127ad27ac" providerId="ADAL" clId="{768E4A13-A73D-464F-B438-21CE62CAAFD3}" dt="2021-05-14T18:43:00.878" v="2105"/>
        <pc:sldMkLst>
          <pc:docMk/>
          <pc:sldMk cId="1036740910" sldId="3224"/>
        </pc:sldMkLst>
        <pc:spChg chg="mod">
          <ac:chgData name="Deshpande, Mayuri (T RDA FOA PAE-US)" userId="307bd999-17dd-4997-b1e2-139127ad27ac" providerId="ADAL" clId="{768E4A13-A73D-464F-B438-21CE62CAAFD3}" dt="2021-05-11T11:59:39.299" v="2095" actId="113"/>
          <ac:spMkLst>
            <pc:docMk/>
            <pc:sldMk cId="1036740910" sldId="3224"/>
            <ac:spMk id="2" creationId="{FF678B0A-3AF7-4FDD-932B-573B07E16B4B}"/>
          </ac:spMkLst>
        </pc:spChg>
        <pc:spChg chg="del">
          <ac:chgData name="Deshpande, Mayuri (T RDA FOA PAE-US)" userId="307bd999-17dd-4997-b1e2-139127ad27ac" providerId="ADAL" clId="{768E4A13-A73D-464F-B438-21CE62CAAFD3}" dt="2021-05-11T11:59:45.395" v="2096" actId="478"/>
          <ac:spMkLst>
            <pc:docMk/>
            <pc:sldMk cId="1036740910" sldId="3224"/>
            <ac:spMk id="3" creationId="{283F295E-3AA0-4E99-AFAC-2AAF110A1830}"/>
          </ac:spMkLst>
        </pc:spChg>
        <pc:picChg chg="add del mod modCrop">
          <ac:chgData name="Deshpande, Mayuri (T RDA FOA PAE-US)" userId="307bd999-17dd-4997-b1e2-139127ad27ac" providerId="ADAL" clId="{768E4A13-A73D-464F-B438-21CE62CAAFD3}" dt="2021-05-11T11:59:05.985" v="2088" actId="478"/>
          <ac:picMkLst>
            <pc:docMk/>
            <pc:sldMk cId="1036740910" sldId="3224"/>
            <ac:picMk id="6" creationId="{5CC94BA1-CB2D-49ED-ADED-E56B1883BB2B}"/>
          </ac:picMkLst>
        </pc:picChg>
        <pc:picChg chg="add mod modCrop">
          <ac:chgData name="Deshpande, Mayuri (T RDA FOA PAE-US)" userId="307bd999-17dd-4997-b1e2-139127ad27ac" providerId="ADAL" clId="{768E4A13-A73D-464F-B438-21CE62CAAFD3}" dt="2021-05-11T13:05:33.212" v="2101" actId="14100"/>
          <ac:picMkLst>
            <pc:docMk/>
            <pc:sldMk cId="1036740910" sldId="3224"/>
            <ac:picMk id="8" creationId="{263495FB-394C-4AF3-9580-91F7BF11D606}"/>
          </ac:picMkLst>
        </pc:picChg>
      </pc:sldChg>
      <pc:sldChg chg="modSp new mod ord">
        <pc:chgData name="Deshpande, Mayuri (T RDA FOA PAE-US)" userId="307bd999-17dd-4997-b1e2-139127ad27ac" providerId="ADAL" clId="{768E4A13-A73D-464F-B438-21CE62CAAFD3}" dt="2021-05-21T19:49:09.896" v="2285" actId="20577"/>
        <pc:sldMkLst>
          <pc:docMk/>
          <pc:sldMk cId="4081115180" sldId="3225"/>
        </pc:sldMkLst>
        <pc:spChg chg="mod">
          <ac:chgData name="Deshpande, Mayuri (T RDA FOA PAE-US)" userId="307bd999-17dd-4997-b1e2-139127ad27ac" providerId="ADAL" clId="{768E4A13-A73D-464F-B438-21CE62CAAFD3}" dt="2021-05-21T19:49:02.750" v="2281" actId="20577"/>
          <ac:spMkLst>
            <pc:docMk/>
            <pc:sldMk cId="4081115180" sldId="3225"/>
            <ac:spMk id="2" creationId="{5B5369EE-D9C7-4658-BB50-79444BBD58AE}"/>
          </ac:spMkLst>
        </pc:spChg>
        <pc:spChg chg="mod">
          <ac:chgData name="Deshpande, Mayuri (T RDA FOA PAE-US)" userId="307bd999-17dd-4997-b1e2-139127ad27ac" providerId="ADAL" clId="{768E4A13-A73D-464F-B438-21CE62CAAFD3}" dt="2021-05-21T19:49:09.896" v="2285" actId="20577"/>
          <ac:spMkLst>
            <pc:docMk/>
            <pc:sldMk cId="4081115180" sldId="3225"/>
            <ac:spMk id="3" creationId="{DC5777E1-5CCE-45D4-82C7-98CF7AC86346}"/>
          </ac:spMkLst>
        </pc:spChg>
      </pc:sldChg>
      <pc:sldChg chg="addSp delSp modSp new mod">
        <pc:chgData name="Deshpande, Mayuri (T RDA FOA PAE-US)" userId="307bd999-17dd-4997-b1e2-139127ad27ac" providerId="ADAL" clId="{768E4A13-A73D-464F-B438-21CE62CAAFD3}" dt="2021-05-21T19:48:23.210" v="2266" actId="1076"/>
        <pc:sldMkLst>
          <pc:docMk/>
          <pc:sldMk cId="4259010539" sldId="3226"/>
        </pc:sldMkLst>
        <pc:spChg chg="mod">
          <ac:chgData name="Deshpande, Mayuri (T RDA FOA PAE-US)" userId="307bd999-17dd-4997-b1e2-139127ad27ac" providerId="ADAL" clId="{768E4A13-A73D-464F-B438-21CE62CAAFD3}" dt="2021-05-21T19:46:09.590" v="2240" actId="108"/>
          <ac:spMkLst>
            <pc:docMk/>
            <pc:sldMk cId="4259010539" sldId="3226"/>
            <ac:spMk id="2" creationId="{03B8070A-299E-413A-9393-9CBE6A16B63D}"/>
          </ac:spMkLst>
        </pc:spChg>
        <pc:spChg chg="del mod">
          <ac:chgData name="Deshpande, Mayuri (T RDA FOA PAE-US)" userId="307bd999-17dd-4997-b1e2-139127ad27ac" providerId="ADAL" clId="{768E4A13-A73D-464F-B438-21CE62CAAFD3}" dt="2021-05-21T19:43:01.946" v="2216" actId="478"/>
          <ac:spMkLst>
            <pc:docMk/>
            <pc:sldMk cId="4259010539" sldId="3226"/>
            <ac:spMk id="3" creationId="{5B67A74D-0A42-4518-8AB1-6B5BBFD15C72}"/>
          </ac:spMkLst>
        </pc:spChg>
        <pc:spChg chg="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4" creationId="{6C5E3430-F5F1-44C1-8CC8-98DE081A7694}"/>
          </ac:spMkLst>
        </pc:spChg>
        <pc:spChg chg="add mod">
          <ac:chgData name="Deshpande, Mayuri (T RDA FOA PAE-US)" userId="307bd999-17dd-4997-b1e2-139127ad27ac" providerId="ADAL" clId="{768E4A13-A73D-464F-B438-21CE62CAAFD3}" dt="2021-05-21T19:45:42.206" v="2236" actId="1076"/>
          <ac:spMkLst>
            <pc:docMk/>
            <pc:sldMk cId="4259010539" sldId="3226"/>
            <ac:spMk id="5" creationId="{9C741B5A-65D6-41FA-91F5-F74357FD200A}"/>
          </ac:spMkLst>
        </pc:spChg>
        <pc:spChg chg="add mod">
          <ac:chgData name="Deshpande, Mayuri (T RDA FOA PAE-US)" userId="307bd999-17dd-4997-b1e2-139127ad27ac" providerId="ADAL" clId="{768E4A13-A73D-464F-B438-21CE62CAAFD3}" dt="2021-05-21T19:45:31.155" v="2233" actId="1076"/>
          <ac:spMkLst>
            <pc:docMk/>
            <pc:sldMk cId="4259010539" sldId="3226"/>
            <ac:spMk id="6" creationId="{76426342-90C2-43F2-8DD5-E25E8AC182AB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7" creationId="{7E453451-ABA4-41EA-9A1E-8BF2D62D1BC8}"/>
          </ac:spMkLst>
        </pc:spChg>
        <pc:spChg chg="add mod">
          <ac:chgData name="Deshpande, Mayuri (T RDA FOA PAE-US)" userId="307bd999-17dd-4997-b1e2-139127ad27ac" providerId="ADAL" clId="{768E4A13-A73D-464F-B438-21CE62CAAFD3}" dt="2021-05-21T19:45:39.315" v="2235" actId="1076"/>
          <ac:spMkLst>
            <pc:docMk/>
            <pc:sldMk cId="4259010539" sldId="3226"/>
            <ac:spMk id="9" creationId="{7BDA6E87-0E4B-413A-B552-DB353776249C}"/>
          </ac:spMkLst>
        </pc:spChg>
        <pc:spChg chg="add del mod">
          <ac:chgData name="Deshpande, Mayuri (T RDA FOA PAE-US)" userId="307bd999-17dd-4997-b1e2-139127ad27ac" providerId="ADAL" clId="{768E4A13-A73D-464F-B438-21CE62CAAFD3}" dt="2021-05-21T19:45:47.653" v="2238" actId="478"/>
          <ac:spMkLst>
            <pc:docMk/>
            <pc:sldMk cId="4259010539" sldId="3226"/>
            <ac:spMk id="11" creationId="{EAB5934E-F9CF-475B-803B-9A538B6CC0FB}"/>
          </ac:spMkLst>
        </pc:spChg>
        <pc:spChg chg="add mod">
          <ac:chgData name="Deshpande, Mayuri (T RDA FOA PAE-US)" userId="307bd999-17dd-4997-b1e2-139127ad27ac" providerId="ADAL" clId="{768E4A13-A73D-464F-B438-21CE62CAAFD3}" dt="2021-05-21T19:46:50.406" v="2248" actId="14100"/>
          <ac:spMkLst>
            <pc:docMk/>
            <pc:sldMk cId="4259010539" sldId="3226"/>
            <ac:spMk id="12" creationId="{4F314D7A-3527-4577-B06C-A58765D09709}"/>
          </ac:spMkLst>
        </pc:spChg>
        <pc:spChg chg="add mod">
          <ac:chgData name="Deshpande, Mayuri (T RDA FOA PAE-US)" userId="307bd999-17dd-4997-b1e2-139127ad27ac" providerId="ADAL" clId="{768E4A13-A73D-464F-B438-21CE62CAAFD3}" dt="2021-05-21T19:46:47.271" v="2247" actId="1076"/>
          <ac:spMkLst>
            <pc:docMk/>
            <pc:sldMk cId="4259010539" sldId="3226"/>
            <ac:spMk id="13" creationId="{E8A2BA32-4A8E-4E5F-9822-29B043EE746D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14" creationId="{DEA49438-C90D-4E12-AEEC-6BE969B3130A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15" creationId="{EF266FA3-E539-4096-8DE2-6F970A62BEDA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18" creationId="{5A92BEEF-9EFB-4E12-9492-11048308EBCA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20" creationId="{F84843BD-0352-4DF2-8248-FD2487DB9521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23" creationId="{EC45B461-71B0-4903-BB35-B11EC755B654}"/>
          </ac:spMkLst>
        </pc:spChg>
        <pc:spChg chg="add mod">
          <ac:chgData name="Deshpande, Mayuri (T RDA FOA PAE-US)" userId="307bd999-17dd-4997-b1e2-139127ad27ac" providerId="ADAL" clId="{768E4A13-A73D-464F-B438-21CE62CAAFD3}" dt="2021-05-21T19:47:28.453" v="2256" actId="14100"/>
          <ac:spMkLst>
            <pc:docMk/>
            <pc:sldMk cId="4259010539" sldId="3226"/>
            <ac:spMk id="25" creationId="{F2B1691E-7B96-4BB0-89AA-B701644E7E92}"/>
          </ac:spMkLst>
        </pc:spChg>
        <pc:spChg chg="add mod">
          <ac:chgData name="Deshpande, Mayuri (T RDA FOA PAE-US)" userId="307bd999-17dd-4997-b1e2-139127ad27ac" providerId="ADAL" clId="{768E4A13-A73D-464F-B438-21CE62CAAFD3}" dt="2021-05-21T19:48:15.105" v="2265" actId="1076"/>
          <ac:spMkLst>
            <pc:docMk/>
            <pc:sldMk cId="4259010539" sldId="3226"/>
            <ac:spMk id="26" creationId="{26CE00F6-D599-4AED-8C42-A86022CE986C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27" creationId="{F50ADAE6-2287-4AE7-8B1B-F8316DF43415}"/>
          </ac:spMkLst>
        </pc:spChg>
        <pc:spChg chg="add mod">
          <ac:chgData name="Deshpande, Mayuri (T RDA FOA PAE-US)" userId="307bd999-17dd-4997-b1e2-139127ad27ac" providerId="ADAL" clId="{768E4A13-A73D-464F-B438-21CE62CAAFD3}" dt="2021-05-21T19:46:16.344" v="2241" actId="14100"/>
          <ac:spMkLst>
            <pc:docMk/>
            <pc:sldMk cId="4259010539" sldId="3226"/>
            <ac:spMk id="28" creationId="{7C111B16-F050-4F61-85E4-3AAB44620EF9}"/>
          </ac:spMkLst>
        </pc:spChg>
        <pc:spChg chg="add mod">
          <ac:chgData name="Deshpande, Mayuri (T RDA FOA PAE-US)" userId="307bd999-17dd-4997-b1e2-139127ad27ac" providerId="ADAL" clId="{768E4A13-A73D-464F-B438-21CE62CAAFD3}" dt="2021-05-21T19:46:26.651" v="2243" actId="14100"/>
          <ac:spMkLst>
            <pc:docMk/>
            <pc:sldMk cId="4259010539" sldId="3226"/>
            <ac:spMk id="29" creationId="{4B37B592-C634-4EBA-A045-004BF0358036}"/>
          </ac:spMkLst>
        </pc:spChg>
        <pc:spChg chg="add mod">
          <ac:chgData name="Deshpande, Mayuri (T RDA FOA PAE-US)" userId="307bd999-17dd-4997-b1e2-139127ad27ac" providerId="ADAL" clId="{768E4A13-A73D-464F-B438-21CE62CAAFD3}" dt="2021-05-21T19:46:33.280" v="2245" actId="14100"/>
          <ac:spMkLst>
            <pc:docMk/>
            <pc:sldMk cId="4259010539" sldId="3226"/>
            <ac:spMk id="30" creationId="{AFE77FBF-82B2-4AFA-865F-B4895F10D139}"/>
          </ac:spMkLst>
        </pc:spChg>
        <pc:spChg chg="add mod">
          <ac:chgData name="Deshpande, Mayuri (T RDA FOA PAE-US)" userId="307bd999-17dd-4997-b1e2-139127ad27ac" providerId="ADAL" clId="{768E4A13-A73D-464F-B438-21CE62CAAFD3}" dt="2021-05-21T19:46:37.627" v="2246" actId="14100"/>
          <ac:spMkLst>
            <pc:docMk/>
            <pc:sldMk cId="4259010539" sldId="3226"/>
            <ac:spMk id="31" creationId="{94BB899B-CE4B-49B8-9CF0-B64F83406119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32" creationId="{CA69B181-32AF-41C0-AE56-905BA1B44DEC}"/>
          </ac:spMkLst>
        </pc:spChg>
        <pc:spChg chg="add mod">
          <ac:chgData name="Deshpande, Mayuri (T RDA FOA PAE-US)" userId="307bd999-17dd-4997-b1e2-139127ad27ac" providerId="ADAL" clId="{768E4A13-A73D-464F-B438-21CE62CAAFD3}" dt="2021-05-21T19:46:20.098" v="2242" actId="14100"/>
          <ac:spMkLst>
            <pc:docMk/>
            <pc:sldMk cId="4259010539" sldId="3226"/>
            <ac:spMk id="33" creationId="{CCA39FFA-B4E9-4AC2-B1D3-F374A642F12A}"/>
          </ac:spMkLst>
        </pc:spChg>
        <pc:spChg chg="add mod">
          <ac:chgData name="Deshpande, Mayuri (T RDA FOA PAE-US)" userId="307bd999-17dd-4997-b1e2-139127ad27ac" providerId="ADAL" clId="{768E4A13-A73D-464F-B438-21CE62CAAFD3}" dt="2021-05-21T19:46:29.690" v="2244" actId="14100"/>
          <ac:spMkLst>
            <pc:docMk/>
            <pc:sldMk cId="4259010539" sldId="3226"/>
            <ac:spMk id="40" creationId="{4E96D34D-0A80-45DF-9055-B8C8F108A5BB}"/>
          </ac:spMkLst>
        </pc:spChg>
        <pc:spChg chg="add mod">
          <ac:chgData name="Deshpande, Mayuri (T RDA FOA PAE-US)" userId="307bd999-17dd-4997-b1e2-139127ad27ac" providerId="ADAL" clId="{768E4A13-A73D-464F-B438-21CE62CAAFD3}" dt="2021-05-21T19:48:12.396" v="2264" actId="1076"/>
          <ac:spMkLst>
            <pc:docMk/>
            <pc:sldMk cId="4259010539" sldId="3226"/>
            <ac:spMk id="44" creationId="{99F19E31-2BD2-467F-8071-7E02DA1A7C57}"/>
          </ac:spMkLst>
        </pc:spChg>
        <pc:spChg chg="add mod">
          <ac:chgData name="Deshpande, Mayuri (T RDA FOA PAE-US)" userId="307bd999-17dd-4997-b1e2-139127ad27ac" providerId="ADAL" clId="{768E4A13-A73D-464F-B438-21CE62CAAFD3}" dt="2021-05-21T19:47:52.576" v="2260" actId="1076"/>
          <ac:spMkLst>
            <pc:docMk/>
            <pc:sldMk cId="4259010539" sldId="3226"/>
            <ac:spMk id="45" creationId="{DC91C921-4D10-4EEF-BD2B-6F131D192E45}"/>
          </ac:spMkLst>
        </pc:spChg>
        <pc:spChg chg="add mod">
          <ac:chgData name="Deshpande, Mayuri (T RDA FOA PAE-US)" userId="307bd999-17dd-4997-b1e2-139127ad27ac" providerId="ADAL" clId="{768E4A13-A73D-464F-B438-21CE62CAAFD3}" dt="2021-05-21T19:48:23.210" v="2266" actId="1076"/>
          <ac:spMkLst>
            <pc:docMk/>
            <pc:sldMk cId="4259010539" sldId="3226"/>
            <ac:spMk id="46" creationId="{EF58BF18-4DE6-40C2-8320-F903DFE97CDB}"/>
          </ac:spMkLst>
        </pc:spChg>
        <pc:spChg chg="add mod">
          <ac:chgData name="Deshpande, Mayuri (T RDA FOA PAE-US)" userId="307bd999-17dd-4997-b1e2-139127ad27ac" providerId="ADAL" clId="{768E4A13-A73D-464F-B438-21CE62CAAFD3}" dt="2021-05-21T19:47:47.958" v="2259" actId="1035"/>
          <ac:spMkLst>
            <pc:docMk/>
            <pc:sldMk cId="4259010539" sldId="3226"/>
            <ac:spMk id="48" creationId="{7B5B79DC-52BF-459B-98FB-EFE34D12D18C}"/>
          </ac:spMkLst>
        </pc:spChg>
        <pc:spChg chg="add mod">
          <ac:chgData name="Deshpande, Mayuri (T RDA FOA PAE-US)" userId="307bd999-17dd-4997-b1e2-139127ad27ac" providerId="ADAL" clId="{768E4A13-A73D-464F-B438-21CE62CAAFD3}" dt="2021-05-21T19:47:55.621" v="2261" actId="1076"/>
          <ac:spMkLst>
            <pc:docMk/>
            <pc:sldMk cId="4259010539" sldId="3226"/>
            <ac:spMk id="50" creationId="{0B6D40F0-C4C8-488D-B8EB-0235B95FC245}"/>
          </ac:spMkLst>
        </pc:spChg>
        <pc:spChg chg="add mod">
          <ac:chgData name="Deshpande, Mayuri (T RDA FOA PAE-US)" userId="307bd999-17dd-4997-b1e2-139127ad27ac" providerId="ADAL" clId="{768E4A13-A73D-464F-B438-21CE62CAAFD3}" dt="2021-05-21T19:48:08.678" v="2263" actId="1076"/>
          <ac:spMkLst>
            <pc:docMk/>
            <pc:sldMk cId="4259010539" sldId="3226"/>
            <ac:spMk id="51" creationId="{343E7301-1BCB-4548-BA8B-8492E280AAEE}"/>
          </ac:spMkLst>
        </pc:spChg>
        <pc:spChg chg="add mod">
          <ac:chgData name="Deshpande, Mayuri (T RDA FOA PAE-US)" userId="307bd999-17dd-4997-b1e2-139127ad27ac" providerId="ADAL" clId="{768E4A13-A73D-464F-B438-21CE62CAAFD3}" dt="2021-05-21T19:48:08.678" v="2263" actId="1076"/>
          <ac:spMkLst>
            <pc:docMk/>
            <pc:sldMk cId="4259010539" sldId="3226"/>
            <ac:spMk id="52" creationId="{1C2F1ECB-4361-481D-B036-FC65ED1DCA47}"/>
          </ac:spMkLst>
        </pc:spChg>
        <pc:spChg chg="add del mod">
          <ac:chgData name="Deshpande, Mayuri (T RDA FOA PAE-US)" userId="307bd999-17dd-4997-b1e2-139127ad27ac" providerId="ADAL" clId="{768E4A13-A73D-464F-B438-21CE62CAAFD3}" dt="2021-05-21T19:45:17.153" v="2231" actId="478"/>
          <ac:spMkLst>
            <pc:docMk/>
            <pc:sldMk cId="4259010539" sldId="3226"/>
            <ac:spMk id="54" creationId="{061F07F2-3BC1-460D-984E-F9B32B9E4DE7}"/>
          </ac:spMkLst>
        </pc:spChg>
        <pc:spChg chg="add del mod">
          <ac:chgData name="Deshpande, Mayuri (T RDA FOA PAE-US)" userId="307bd999-17dd-4997-b1e2-139127ad27ac" providerId="ADAL" clId="{768E4A13-A73D-464F-B438-21CE62CAAFD3}" dt="2021-05-21T19:45:10.900" v="2229" actId="478"/>
          <ac:spMkLst>
            <pc:docMk/>
            <pc:sldMk cId="4259010539" sldId="3226"/>
            <ac:spMk id="55" creationId="{ACB933D8-5717-4CE9-AFC3-012033B85700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57" creationId="{048AB485-B380-49D5-A788-399CB4C07844}"/>
          </ac:spMkLst>
        </pc:spChg>
        <pc:spChg chg="add mod">
          <ac:chgData name="Deshpande, Mayuri (T RDA FOA PAE-US)" userId="307bd999-17dd-4997-b1e2-139127ad27ac" providerId="ADAL" clId="{768E4A13-A73D-464F-B438-21CE62CAAFD3}" dt="2021-05-21T19:47:01.025" v="2252" actId="1076"/>
          <ac:spMkLst>
            <pc:docMk/>
            <pc:sldMk cId="4259010539" sldId="3226"/>
            <ac:spMk id="58" creationId="{884B1CBA-84E6-4BD4-8248-5F7862995558}"/>
          </ac:spMkLst>
        </pc:spChg>
        <pc:spChg chg="add del mod">
          <ac:chgData name="Deshpande, Mayuri (T RDA FOA PAE-US)" userId="307bd999-17dd-4997-b1e2-139127ad27ac" providerId="ADAL" clId="{768E4A13-A73D-464F-B438-21CE62CAAFD3}" dt="2021-05-21T19:42:56.037" v="2215"/>
          <ac:spMkLst>
            <pc:docMk/>
            <pc:sldMk cId="4259010539" sldId="3226"/>
            <ac:spMk id="59" creationId="{45C4D864-43DF-4D20-BE18-3FD116A2D22F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60" creationId="{C24FFF4A-3AB9-4451-9DE1-BE77A85F9B48}"/>
          </ac:spMkLst>
        </pc:spChg>
        <pc:spChg chg="add mod">
          <ac:chgData name="Deshpande, Mayuri (T RDA FOA PAE-US)" userId="307bd999-17dd-4997-b1e2-139127ad27ac" providerId="ADAL" clId="{768E4A13-A73D-464F-B438-21CE62CAAFD3}" dt="2021-05-21T19:44:25.685" v="2220" actId="255"/>
          <ac:spMkLst>
            <pc:docMk/>
            <pc:sldMk cId="4259010539" sldId="3226"/>
            <ac:spMk id="61" creationId="{D9D529C4-41BE-4296-9130-59889C5EDE45}"/>
          </ac:spMkLst>
        </pc:spChg>
        <pc:cxnChg chg="add mod">
          <ac:chgData name="Deshpande, Mayuri (T RDA FOA PAE-US)" userId="307bd999-17dd-4997-b1e2-139127ad27ac" providerId="ADAL" clId="{768E4A13-A73D-464F-B438-21CE62CAAFD3}" dt="2021-05-21T19:45:42.206" v="2236" actId="1076"/>
          <ac:cxnSpMkLst>
            <pc:docMk/>
            <pc:sldMk cId="4259010539" sldId="3226"/>
            <ac:cxnSpMk id="8" creationId="{05382E33-A279-45C0-91DA-15ABABD1730B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5:31.155" v="2233" actId="1076"/>
          <ac:cxnSpMkLst>
            <pc:docMk/>
            <pc:sldMk cId="4259010539" sldId="3226"/>
            <ac:cxnSpMk id="10" creationId="{2F67275A-211F-4E7B-8C0B-5725C56945C8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2:46.626" v="2211" actId="14100"/>
          <ac:cxnSpMkLst>
            <pc:docMk/>
            <pc:sldMk cId="4259010539" sldId="3226"/>
            <ac:cxnSpMk id="16" creationId="{8C9C6B54-6227-47FB-9E26-153976B3E253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8:08.678" v="2263" actId="1076"/>
          <ac:cxnSpMkLst>
            <pc:docMk/>
            <pc:sldMk cId="4259010539" sldId="3226"/>
            <ac:cxnSpMk id="17" creationId="{DA38EDCE-AEBB-4633-941A-34D2B4F32536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5:47.653" v="2238" actId="478"/>
          <ac:cxnSpMkLst>
            <pc:docMk/>
            <pc:sldMk cId="4259010539" sldId="3226"/>
            <ac:cxnSpMk id="19" creationId="{04ED6E3B-DA22-42F1-9B81-E857C8A90A6C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2:46.626" v="2211" actId="14100"/>
          <ac:cxnSpMkLst>
            <pc:docMk/>
            <pc:sldMk cId="4259010539" sldId="3226"/>
            <ac:cxnSpMk id="21" creationId="{DEA7D989-7C07-4BEB-AA1A-400165021AD1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2:46.626" v="2211" actId="14100"/>
          <ac:cxnSpMkLst>
            <pc:docMk/>
            <pc:sldMk cId="4259010539" sldId="3226"/>
            <ac:cxnSpMk id="22" creationId="{4E72090E-1522-45B9-B75D-9B07100E3A52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2:46.626" v="2211" actId="14100"/>
          <ac:cxnSpMkLst>
            <pc:docMk/>
            <pc:sldMk cId="4259010539" sldId="3226"/>
            <ac:cxnSpMk id="24" creationId="{6DD671F0-3FA4-4B4F-A0E5-089C93D8D427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6:26.651" v="2243" actId="14100"/>
          <ac:cxnSpMkLst>
            <pc:docMk/>
            <pc:sldMk cId="4259010539" sldId="3226"/>
            <ac:cxnSpMk id="34" creationId="{ABA3BD9D-E472-46F6-824E-2ED3AABBBDC6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6:33.280" v="2245" actId="14100"/>
          <ac:cxnSpMkLst>
            <pc:docMk/>
            <pc:sldMk cId="4259010539" sldId="3226"/>
            <ac:cxnSpMk id="35" creationId="{56976370-DAFD-4A14-9308-82C461E01E92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6:37.627" v="2246" actId="14100"/>
          <ac:cxnSpMkLst>
            <pc:docMk/>
            <pc:sldMk cId="4259010539" sldId="3226"/>
            <ac:cxnSpMk id="36" creationId="{E1E12E7C-F23B-43FC-B3E0-12D2C598F78D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6:37.627" v="2246" actId="14100"/>
          <ac:cxnSpMkLst>
            <pc:docMk/>
            <pc:sldMk cId="4259010539" sldId="3226"/>
            <ac:cxnSpMk id="37" creationId="{752928D9-7A97-40F1-AEFC-AFF1BE3D7366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6:20.098" v="2242" actId="14100"/>
          <ac:cxnSpMkLst>
            <pc:docMk/>
            <pc:sldMk cId="4259010539" sldId="3226"/>
            <ac:cxnSpMk id="38" creationId="{AC82CD8A-8DB5-4C34-894D-151DA9EFF310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6:20.098" v="2242" actId="14100"/>
          <ac:cxnSpMkLst>
            <pc:docMk/>
            <pc:sldMk cId="4259010539" sldId="3226"/>
            <ac:cxnSpMk id="39" creationId="{774866A1-F15B-4FFB-AAD0-65149FB31E9C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6:29.690" v="2244" actId="14100"/>
          <ac:cxnSpMkLst>
            <pc:docMk/>
            <pc:sldMk cId="4259010539" sldId="3226"/>
            <ac:cxnSpMk id="41" creationId="{A273624D-AAEF-4353-A565-5FC019983F48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6:33.280" v="2245" actId="14100"/>
          <ac:cxnSpMkLst>
            <pc:docMk/>
            <pc:sldMk cId="4259010539" sldId="3226"/>
            <ac:cxnSpMk id="42" creationId="{9C32B0CC-D2E0-46E7-98DC-13AF1A11DDF6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6:37.627" v="2246" actId="14100"/>
          <ac:cxnSpMkLst>
            <pc:docMk/>
            <pc:sldMk cId="4259010539" sldId="3226"/>
            <ac:cxnSpMk id="43" creationId="{1046B02F-9D8D-4301-8BB5-9A1B1A4F8158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7:47.958" v="2259" actId="1035"/>
          <ac:cxnSpMkLst>
            <pc:docMk/>
            <pc:sldMk cId="4259010539" sldId="3226"/>
            <ac:cxnSpMk id="47" creationId="{A1B45B3F-270D-4C4A-9602-AEA17341FF3D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7:52.576" v="2260" actId="1076"/>
          <ac:cxnSpMkLst>
            <pc:docMk/>
            <pc:sldMk cId="4259010539" sldId="3226"/>
            <ac:cxnSpMk id="49" creationId="{10033C73-0D53-4AF9-9D05-012711F32AC8}"/>
          </ac:cxnSpMkLst>
        </pc:cxnChg>
        <pc:cxnChg chg="add mod">
          <ac:chgData name="Deshpande, Mayuri (T RDA FOA PAE-US)" userId="307bd999-17dd-4997-b1e2-139127ad27ac" providerId="ADAL" clId="{768E4A13-A73D-464F-B438-21CE62CAAFD3}" dt="2021-05-21T19:48:08.678" v="2263" actId="1076"/>
          <ac:cxnSpMkLst>
            <pc:docMk/>
            <pc:sldMk cId="4259010539" sldId="3226"/>
            <ac:cxnSpMk id="53" creationId="{104847E3-8876-4102-AE98-C24FAF5D16C9}"/>
          </ac:cxnSpMkLst>
        </pc:cxnChg>
        <pc:cxnChg chg="add del mod">
          <ac:chgData name="Deshpande, Mayuri (T RDA FOA PAE-US)" userId="307bd999-17dd-4997-b1e2-139127ad27ac" providerId="ADAL" clId="{768E4A13-A73D-464F-B438-21CE62CAAFD3}" dt="2021-05-21T19:45:34.419" v="2234" actId="478"/>
          <ac:cxnSpMkLst>
            <pc:docMk/>
            <pc:sldMk cId="4259010539" sldId="3226"/>
            <ac:cxnSpMk id="56" creationId="{588723A3-D49B-4AD0-8997-E78EB2DB0905}"/>
          </ac:cxnSpMkLst>
        </pc:cxnChg>
      </pc:sldChg>
      <pc:sldChg chg="addSp delSp modSp new mod">
        <pc:chgData name="Deshpande, Mayuri (T RDA FOA PAE-US)" userId="307bd999-17dd-4997-b1e2-139127ad27ac" providerId="ADAL" clId="{768E4A13-A73D-464F-B438-21CE62CAAFD3}" dt="2021-05-28T17:56:14.783" v="3315" actId="20577"/>
        <pc:sldMkLst>
          <pc:docMk/>
          <pc:sldMk cId="2482572593" sldId="3227"/>
        </pc:sldMkLst>
        <pc:spChg chg="del">
          <ac:chgData name="Deshpande, Mayuri (T RDA FOA PAE-US)" userId="307bd999-17dd-4997-b1e2-139127ad27ac" providerId="ADAL" clId="{768E4A13-A73D-464F-B438-21CE62CAAFD3}" dt="2021-05-28T17:29:19.594" v="2813" actId="478"/>
          <ac:spMkLst>
            <pc:docMk/>
            <pc:sldMk cId="2482572593" sldId="3227"/>
            <ac:spMk id="2" creationId="{744DF96E-558E-4AB4-A78C-FB6D8AC91D54}"/>
          </ac:spMkLst>
        </pc:spChg>
        <pc:spChg chg="mod">
          <ac:chgData name="Deshpande, Mayuri (T RDA FOA PAE-US)" userId="307bd999-17dd-4997-b1e2-139127ad27ac" providerId="ADAL" clId="{768E4A13-A73D-464F-B438-21CE62CAAFD3}" dt="2021-05-28T17:53:03.296" v="3139"/>
          <ac:spMkLst>
            <pc:docMk/>
            <pc:sldMk cId="2482572593" sldId="3227"/>
            <ac:spMk id="3" creationId="{011898DB-9115-481B-A8AD-DFA5ECC782BA}"/>
          </ac:spMkLst>
        </pc:spChg>
        <pc:spChg chg="add mod">
          <ac:chgData name="Deshpande, Mayuri (T RDA FOA PAE-US)" userId="307bd999-17dd-4997-b1e2-139127ad27ac" providerId="ADAL" clId="{768E4A13-A73D-464F-B438-21CE62CAAFD3}" dt="2021-05-28T17:29:37.605" v="2816" actId="1076"/>
          <ac:spMkLst>
            <pc:docMk/>
            <pc:sldMk cId="2482572593" sldId="3227"/>
            <ac:spMk id="5" creationId="{E7A0901F-B9AB-4E56-BF5A-66A5924FC1CA}"/>
          </ac:spMkLst>
        </pc:spChg>
        <pc:spChg chg="add mod">
          <ac:chgData name="Deshpande, Mayuri (T RDA FOA PAE-US)" userId="307bd999-17dd-4997-b1e2-139127ad27ac" providerId="ADAL" clId="{768E4A13-A73D-464F-B438-21CE62CAAFD3}" dt="2021-05-28T17:29:37.605" v="2816" actId="1076"/>
          <ac:spMkLst>
            <pc:docMk/>
            <pc:sldMk cId="2482572593" sldId="3227"/>
            <ac:spMk id="6" creationId="{AC440019-E1C9-4343-9503-08FDCE88E43D}"/>
          </ac:spMkLst>
        </pc:spChg>
        <pc:spChg chg="add mod">
          <ac:chgData name="Deshpande, Mayuri (T RDA FOA PAE-US)" userId="307bd999-17dd-4997-b1e2-139127ad27ac" providerId="ADAL" clId="{768E4A13-A73D-464F-B438-21CE62CAAFD3}" dt="2021-05-28T17:29:37.605" v="2816" actId="1076"/>
          <ac:spMkLst>
            <pc:docMk/>
            <pc:sldMk cId="2482572593" sldId="3227"/>
            <ac:spMk id="7" creationId="{B4D1349A-6EBD-4107-A873-208479FFD5FC}"/>
          </ac:spMkLst>
        </pc:spChg>
        <pc:spChg chg="add mod">
          <ac:chgData name="Deshpande, Mayuri (T RDA FOA PAE-US)" userId="307bd999-17dd-4997-b1e2-139127ad27ac" providerId="ADAL" clId="{768E4A13-A73D-464F-B438-21CE62CAAFD3}" dt="2021-05-28T17:29:37.605" v="2816" actId="1076"/>
          <ac:spMkLst>
            <pc:docMk/>
            <pc:sldMk cId="2482572593" sldId="3227"/>
            <ac:spMk id="8" creationId="{22561F94-425F-4E94-8B69-5792F0B319DF}"/>
          </ac:spMkLst>
        </pc:spChg>
        <pc:spChg chg="add">
          <ac:chgData name="Deshpande, Mayuri (T RDA FOA PAE-US)" userId="307bd999-17dd-4997-b1e2-139127ad27ac" providerId="ADAL" clId="{768E4A13-A73D-464F-B438-21CE62CAAFD3}" dt="2021-05-28T17:29:51.217" v="2817" actId="11529"/>
          <ac:spMkLst>
            <pc:docMk/>
            <pc:sldMk cId="2482572593" sldId="3227"/>
            <ac:spMk id="9" creationId="{CABF23EF-5C3F-4B5A-8A57-98EB9C7C8B72}"/>
          </ac:spMkLst>
        </pc:spChg>
        <pc:spChg chg="add mod">
          <ac:chgData name="Deshpande, Mayuri (T RDA FOA PAE-US)" userId="307bd999-17dd-4997-b1e2-139127ad27ac" providerId="ADAL" clId="{768E4A13-A73D-464F-B438-21CE62CAAFD3}" dt="2021-05-28T17:34:13.342" v="2992" actId="14100"/>
          <ac:spMkLst>
            <pc:docMk/>
            <pc:sldMk cId="2482572593" sldId="3227"/>
            <ac:spMk id="10" creationId="{99C5AF5E-DB6D-4629-A380-22D350177E71}"/>
          </ac:spMkLst>
        </pc:spChg>
        <pc:spChg chg="add mod">
          <ac:chgData name="Deshpande, Mayuri (T RDA FOA PAE-US)" userId="307bd999-17dd-4997-b1e2-139127ad27ac" providerId="ADAL" clId="{768E4A13-A73D-464F-B438-21CE62CAAFD3}" dt="2021-05-28T17:36:49.115" v="3032" actId="1076"/>
          <ac:spMkLst>
            <pc:docMk/>
            <pc:sldMk cId="2482572593" sldId="3227"/>
            <ac:spMk id="11" creationId="{A3FFE794-4B21-4029-AC73-B4A34CF0C97B}"/>
          </ac:spMkLst>
        </pc:spChg>
        <pc:spChg chg="add mod">
          <ac:chgData name="Deshpande, Mayuri (T RDA FOA PAE-US)" userId="307bd999-17dd-4997-b1e2-139127ad27ac" providerId="ADAL" clId="{768E4A13-A73D-464F-B438-21CE62CAAFD3}" dt="2021-05-28T17:36:49.115" v="3032" actId="1076"/>
          <ac:spMkLst>
            <pc:docMk/>
            <pc:sldMk cId="2482572593" sldId="3227"/>
            <ac:spMk id="12" creationId="{10B3EACB-4734-4824-B218-E0D7561AE39F}"/>
          </ac:spMkLst>
        </pc:spChg>
        <pc:spChg chg="add mod">
          <ac:chgData name="Deshpande, Mayuri (T RDA FOA PAE-US)" userId="307bd999-17dd-4997-b1e2-139127ad27ac" providerId="ADAL" clId="{768E4A13-A73D-464F-B438-21CE62CAAFD3}" dt="2021-05-28T17:36:49.115" v="3032" actId="1076"/>
          <ac:spMkLst>
            <pc:docMk/>
            <pc:sldMk cId="2482572593" sldId="3227"/>
            <ac:spMk id="13" creationId="{B8AF74A8-5687-4322-8783-89CF1D1936B8}"/>
          </ac:spMkLst>
        </pc:spChg>
        <pc:spChg chg="add mod">
          <ac:chgData name="Deshpande, Mayuri (T RDA FOA PAE-US)" userId="307bd999-17dd-4997-b1e2-139127ad27ac" providerId="ADAL" clId="{768E4A13-A73D-464F-B438-21CE62CAAFD3}" dt="2021-05-28T17:36:49.115" v="3032" actId="1076"/>
          <ac:spMkLst>
            <pc:docMk/>
            <pc:sldMk cId="2482572593" sldId="3227"/>
            <ac:spMk id="14" creationId="{0D25896D-C7E6-4939-AD98-ABEA708C1969}"/>
          </ac:spMkLst>
        </pc:spChg>
        <pc:spChg chg="add mod">
          <ac:chgData name="Deshpande, Mayuri (T RDA FOA PAE-US)" userId="307bd999-17dd-4997-b1e2-139127ad27ac" providerId="ADAL" clId="{768E4A13-A73D-464F-B438-21CE62CAAFD3}" dt="2021-05-28T17:36:49.115" v="3032" actId="1076"/>
          <ac:spMkLst>
            <pc:docMk/>
            <pc:sldMk cId="2482572593" sldId="3227"/>
            <ac:spMk id="15" creationId="{3298B949-B59A-4942-BBC3-F9A834970FC7}"/>
          </ac:spMkLst>
        </pc:spChg>
        <pc:spChg chg="add mod">
          <ac:chgData name="Deshpande, Mayuri (T RDA FOA PAE-US)" userId="307bd999-17dd-4997-b1e2-139127ad27ac" providerId="ADAL" clId="{768E4A13-A73D-464F-B438-21CE62CAAFD3}" dt="2021-05-28T17:34:12.030" v="2991" actId="571"/>
          <ac:spMkLst>
            <pc:docMk/>
            <pc:sldMk cId="2482572593" sldId="3227"/>
            <ac:spMk id="16" creationId="{CA67685A-C431-4A83-8F5B-C96D0244DE1E}"/>
          </ac:spMkLst>
        </pc:spChg>
        <pc:spChg chg="add mod">
          <ac:chgData name="Deshpande, Mayuri (T RDA FOA PAE-US)" userId="307bd999-17dd-4997-b1e2-139127ad27ac" providerId="ADAL" clId="{768E4A13-A73D-464F-B438-21CE62CAAFD3}" dt="2021-05-28T17:34:12.030" v="2991" actId="571"/>
          <ac:spMkLst>
            <pc:docMk/>
            <pc:sldMk cId="2482572593" sldId="3227"/>
            <ac:spMk id="17" creationId="{50A56B26-2422-40A1-890D-08EEA507F354}"/>
          </ac:spMkLst>
        </pc:spChg>
        <pc:spChg chg="add mod">
          <ac:chgData name="Deshpande, Mayuri (T RDA FOA PAE-US)" userId="307bd999-17dd-4997-b1e2-139127ad27ac" providerId="ADAL" clId="{768E4A13-A73D-464F-B438-21CE62CAAFD3}" dt="2021-05-28T17:34:12.030" v="2991" actId="571"/>
          <ac:spMkLst>
            <pc:docMk/>
            <pc:sldMk cId="2482572593" sldId="3227"/>
            <ac:spMk id="18" creationId="{663092B0-9DC5-4C11-A315-4C7AD980DFBB}"/>
          </ac:spMkLst>
        </pc:spChg>
        <pc:spChg chg="add mod">
          <ac:chgData name="Deshpande, Mayuri (T RDA FOA PAE-US)" userId="307bd999-17dd-4997-b1e2-139127ad27ac" providerId="ADAL" clId="{768E4A13-A73D-464F-B438-21CE62CAAFD3}" dt="2021-05-28T17:50:38.448" v="3131" actId="1076"/>
          <ac:spMkLst>
            <pc:docMk/>
            <pc:sldMk cId="2482572593" sldId="3227"/>
            <ac:spMk id="33" creationId="{336F6985-5587-4F55-A795-8ADDE5C4764E}"/>
          </ac:spMkLst>
        </pc:spChg>
        <pc:spChg chg="add del mod">
          <ac:chgData name="Deshpande, Mayuri (T RDA FOA PAE-US)" userId="307bd999-17dd-4997-b1e2-139127ad27ac" providerId="ADAL" clId="{768E4A13-A73D-464F-B438-21CE62CAAFD3}" dt="2021-05-28T17:52:33.728" v="3137" actId="478"/>
          <ac:spMkLst>
            <pc:docMk/>
            <pc:sldMk cId="2482572593" sldId="3227"/>
            <ac:spMk id="37" creationId="{9436B311-2E7E-463E-A64F-B187D4134A49}"/>
          </ac:spMkLst>
        </pc:spChg>
        <pc:spChg chg="add mod">
          <ac:chgData name="Deshpande, Mayuri (T RDA FOA PAE-US)" userId="307bd999-17dd-4997-b1e2-139127ad27ac" providerId="ADAL" clId="{768E4A13-A73D-464F-B438-21CE62CAAFD3}" dt="2021-05-28T17:55:35.078" v="3271" actId="14100"/>
          <ac:spMkLst>
            <pc:docMk/>
            <pc:sldMk cId="2482572593" sldId="3227"/>
            <ac:spMk id="39" creationId="{22AB2844-0F24-433C-BAE8-2CA17C6550A4}"/>
          </ac:spMkLst>
        </pc:spChg>
        <pc:spChg chg="add mod">
          <ac:chgData name="Deshpande, Mayuri (T RDA FOA PAE-US)" userId="307bd999-17dd-4997-b1e2-139127ad27ac" providerId="ADAL" clId="{768E4A13-A73D-464F-B438-21CE62CAAFD3}" dt="2021-05-28T17:55:44.626" v="3281" actId="14100"/>
          <ac:spMkLst>
            <pc:docMk/>
            <pc:sldMk cId="2482572593" sldId="3227"/>
            <ac:spMk id="40" creationId="{3B8ED00C-FD2E-4E74-9D4A-F28ACDDB8323}"/>
          </ac:spMkLst>
        </pc:spChg>
        <pc:spChg chg="add mod">
          <ac:chgData name="Deshpande, Mayuri (T RDA FOA PAE-US)" userId="307bd999-17dd-4997-b1e2-139127ad27ac" providerId="ADAL" clId="{768E4A13-A73D-464F-B438-21CE62CAAFD3}" dt="2021-05-28T17:55:59.515" v="3299" actId="14100"/>
          <ac:spMkLst>
            <pc:docMk/>
            <pc:sldMk cId="2482572593" sldId="3227"/>
            <ac:spMk id="41" creationId="{5BE499FD-F5C3-419B-B242-FA390D7795DA}"/>
          </ac:spMkLst>
        </pc:spChg>
        <pc:spChg chg="add mod">
          <ac:chgData name="Deshpande, Mayuri (T RDA FOA PAE-US)" userId="307bd999-17dd-4997-b1e2-139127ad27ac" providerId="ADAL" clId="{768E4A13-A73D-464F-B438-21CE62CAAFD3}" dt="2021-05-28T17:56:14.783" v="3315" actId="20577"/>
          <ac:spMkLst>
            <pc:docMk/>
            <pc:sldMk cId="2482572593" sldId="3227"/>
            <ac:spMk id="42" creationId="{E3C6CD47-268D-4418-8B26-273A8189A511}"/>
          </ac:spMkLst>
        </pc:spChg>
        <pc:picChg chg="add mod">
          <ac:chgData name="Deshpande, Mayuri (T RDA FOA PAE-US)" userId="307bd999-17dd-4997-b1e2-139127ad27ac" providerId="ADAL" clId="{768E4A13-A73D-464F-B438-21CE62CAAFD3}" dt="2021-05-28T17:50:52.975" v="3133" actId="1076"/>
          <ac:picMkLst>
            <pc:docMk/>
            <pc:sldMk cId="2482572593" sldId="3227"/>
            <ac:picMk id="76802" creationId="{E065FD12-1CE0-4CDB-AA51-5E4A03EED8E0}"/>
          </ac:picMkLst>
        </pc:picChg>
        <pc:cxnChg chg="add mod">
          <ac:chgData name="Deshpande, Mayuri (T RDA FOA PAE-US)" userId="307bd999-17dd-4997-b1e2-139127ad27ac" providerId="ADAL" clId="{768E4A13-A73D-464F-B438-21CE62CAAFD3}" dt="2021-05-28T17:36:49.115" v="3032" actId="1076"/>
          <ac:cxnSpMkLst>
            <pc:docMk/>
            <pc:sldMk cId="2482572593" sldId="3227"/>
            <ac:cxnSpMk id="20" creationId="{58668BA0-A962-42F9-914A-C4046B35C7F5}"/>
          </ac:cxnSpMkLst>
        </pc:cxnChg>
        <pc:cxnChg chg="add">
          <ac:chgData name="Deshpande, Mayuri (T RDA FOA PAE-US)" userId="307bd999-17dd-4997-b1e2-139127ad27ac" providerId="ADAL" clId="{768E4A13-A73D-464F-B438-21CE62CAAFD3}" dt="2021-05-28T17:36:59.477" v="3033" actId="11529"/>
          <ac:cxnSpMkLst>
            <pc:docMk/>
            <pc:sldMk cId="2482572593" sldId="3227"/>
            <ac:cxnSpMk id="23" creationId="{0538BFD4-B460-4C80-A3EA-FB4DBF81B3A2}"/>
          </ac:cxnSpMkLst>
        </pc:cxnChg>
        <pc:cxnChg chg="add mod">
          <ac:chgData name="Deshpande, Mayuri (T RDA FOA PAE-US)" userId="307bd999-17dd-4997-b1e2-139127ad27ac" providerId="ADAL" clId="{768E4A13-A73D-464F-B438-21CE62CAAFD3}" dt="2021-05-28T17:37:09.146" v="3035" actId="14100"/>
          <ac:cxnSpMkLst>
            <pc:docMk/>
            <pc:sldMk cId="2482572593" sldId="3227"/>
            <ac:cxnSpMk id="25" creationId="{725AAD7C-90C1-4984-91EF-EF95AB384642}"/>
          </ac:cxnSpMkLst>
        </pc:cxnChg>
        <pc:cxnChg chg="add">
          <ac:chgData name="Deshpande, Mayuri (T RDA FOA PAE-US)" userId="307bd999-17dd-4997-b1e2-139127ad27ac" providerId="ADAL" clId="{768E4A13-A73D-464F-B438-21CE62CAAFD3}" dt="2021-05-28T17:37:15.753" v="3036" actId="11529"/>
          <ac:cxnSpMkLst>
            <pc:docMk/>
            <pc:sldMk cId="2482572593" sldId="3227"/>
            <ac:cxnSpMk id="28" creationId="{F76D1765-DAE1-4936-8336-0A15439C2235}"/>
          </ac:cxnSpMkLst>
        </pc:cxnChg>
        <pc:cxnChg chg="add">
          <ac:chgData name="Deshpande, Mayuri (T RDA FOA PAE-US)" userId="307bd999-17dd-4997-b1e2-139127ad27ac" providerId="ADAL" clId="{768E4A13-A73D-464F-B438-21CE62CAAFD3}" dt="2021-05-28T17:37:26.682" v="3037" actId="11529"/>
          <ac:cxnSpMkLst>
            <pc:docMk/>
            <pc:sldMk cId="2482572593" sldId="3227"/>
            <ac:cxnSpMk id="30" creationId="{716739D6-45CC-4F11-853A-72776999CBCC}"/>
          </ac:cxnSpMkLst>
        </pc:cxnChg>
        <pc:cxnChg chg="add mod">
          <ac:chgData name="Deshpande, Mayuri (T RDA FOA PAE-US)" userId="307bd999-17dd-4997-b1e2-139127ad27ac" providerId="ADAL" clId="{768E4A13-A73D-464F-B438-21CE62CAAFD3}" dt="2021-05-28T17:50:52.975" v="3133" actId="1076"/>
          <ac:cxnSpMkLst>
            <pc:docMk/>
            <pc:sldMk cId="2482572593" sldId="3227"/>
            <ac:cxnSpMk id="34" creationId="{E8DF8DD1-AEB3-4079-9865-BB15BB387BF2}"/>
          </ac:cxnSpMkLst>
        </pc:cxnChg>
        <pc:cxnChg chg="add">
          <ac:chgData name="Deshpande, Mayuri (T RDA FOA PAE-US)" userId="307bd999-17dd-4997-b1e2-139127ad27ac" providerId="ADAL" clId="{768E4A13-A73D-464F-B438-21CE62CAAFD3}" dt="2021-05-28T17:54:59.265" v="3243" actId="11529"/>
          <ac:cxnSpMkLst>
            <pc:docMk/>
            <pc:sldMk cId="2482572593" sldId="3227"/>
            <ac:cxnSpMk id="43" creationId="{7E7B271E-12EF-4E82-B037-8372562793E6}"/>
          </ac:cxnSpMkLst>
        </pc:cxnChg>
        <pc:cxnChg chg="add mod">
          <ac:chgData name="Deshpande, Mayuri (T RDA FOA PAE-US)" userId="307bd999-17dd-4997-b1e2-139127ad27ac" providerId="ADAL" clId="{768E4A13-A73D-464F-B438-21CE62CAAFD3}" dt="2021-05-28T17:55:05.805" v="3245" actId="1076"/>
          <ac:cxnSpMkLst>
            <pc:docMk/>
            <pc:sldMk cId="2482572593" sldId="3227"/>
            <ac:cxnSpMk id="45" creationId="{B23FB52D-9BB9-4535-B7FE-8F177B1F900F}"/>
          </ac:cxnSpMkLst>
        </pc:cxnChg>
        <pc:cxnChg chg="add mod">
          <ac:chgData name="Deshpande, Mayuri (T RDA FOA PAE-US)" userId="307bd999-17dd-4997-b1e2-139127ad27ac" providerId="ADAL" clId="{768E4A13-A73D-464F-B438-21CE62CAAFD3}" dt="2021-05-28T17:55:15.855" v="3247" actId="1076"/>
          <ac:cxnSpMkLst>
            <pc:docMk/>
            <pc:sldMk cId="2482572593" sldId="3227"/>
            <ac:cxnSpMk id="46" creationId="{185E4229-CC7B-4A15-B579-FA542C910CBA}"/>
          </ac:cxnSpMkLst>
        </pc:cxnChg>
        <pc:cxnChg chg="add mod">
          <ac:chgData name="Deshpande, Mayuri (T RDA FOA PAE-US)" userId="307bd999-17dd-4997-b1e2-139127ad27ac" providerId="ADAL" clId="{768E4A13-A73D-464F-B438-21CE62CAAFD3}" dt="2021-05-28T17:55:19.622" v="3249" actId="1076"/>
          <ac:cxnSpMkLst>
            <pc:docMk/>
            <pc:sldMk cId="2482572593" sldId="3227"/>
            <ac:cxnSpMk id="47" creationId="{9A076C19-D640-4EE5-9026-0C64DD23348B}"/>
          </ac:cxnSpMkLst>
        </pc:cxnChg>
      </pc:sldChg>
    </pc:docChg>
  </pc:docChgLst>
  <pc:docChgLst>
    <pc:chgData name="Friedrich, Hermann (T RDA FOA)" userId="a5622eb3-2c34-4ca5-a905-34ed83c191b9" providerId="ADAL" clId="{6C081585-9EAE-4691-A1B1-081CA708CF16}"/>
    <pc:docChg chg="undo custSel modSld">
      <pc:chgData name="Friedrich, Hermann (T RDA FOA)" userId="a5622eb3-2c34-4ca5-a905-34ed83c191b9" providerId="ADAL" clId="{6C081585-9EAE-4691-A1B1-081CA708CF16}" dt="2021-03-01T17:05:28.660" v="7" actId="14100"/>
      <pc:docMkLst>
        <pc:docMk/>
      </pc:docMkLst>
      <pc:sldChg chg="modSp mod">
        <pc:chgData name="Friedrich, Hermann (T RDA FOA)" userId="a5622eb3-2c34-4ca5-a905-34ed83c191b9" providerId="ADAL" clId="{6C081585-9EAE-4691-A1B1-081CA708CF16}" dt="2021-03-01T17:05:28.660" v="7" actId="14100"/>
        <pc:sldMkLst>
          <pc:docMk/>
          <pc:sldMk cId="4267342481" sldId="3192"/>
        </pc:sldMkLst>
        <pc:picChg chg="mod">
          <ac:chgData name="Friedrich, Hermann (T RDA FOA)" userId="a5622eb3-2c34-4ca5-a905-34ed83c191b9" providerId="ADAL" clId="{6C081585-9EAE-4691-A1B1-081CA708CF16}" dt="2021-03-01T17:05:28.660" v="7" actId="14100"/>
          <ac:picMkLst>
            <pc:docMk/>
            <pc:sldMk cId="4267342481" sldId="3192"/>
            <ac:picMk id="5" creationId="{91BEE1A0-901D-4527-85CA-1C19B23588FC}"/>
          </ac:picMkLst>
        </pc:picChg>
      </pc:sldChg>
    </pc:docChg>
  </pc:docChgLst>
  <pc:docChgLst>
    <pc:chgData name="Quiros Araya, Gustavo (T RDA FOA AES-US)" userId="87a2443b-d0c9-4518-9ebc-d799baa37986" providerId="ADAL" clId="{87980A0B-C844-445C-8314-DD61B419A0B2}"/>
    <pc:docChg chg="custSel modSld">
      <pc:chgData name="Quiros Araya, Gustavo (T RDA FOA AES-US)" userId="87a2443b-d0c9-4518-9ebc-d799baa37986" providerId="ADAL" clId="{87980A0B-C844-445C-8314-DD61B419A0B2}" dt="2021-02-22T14:08:24.233" v="12" actId="27636"/>
      <pc:docMkLst>
        <pc:docMk/>
      </pc:docMkLst>
      <pc:sldChg chg="modSp mod">
        <pc:chgData name="Quiros Araya, Gustavo (T RDA FOA AES-US)" userId="87a2443b-d0c9-4518-9ebc-d799baa37986" providerId="ADAL" clId="{87980A0B-C844-445C-8314-DD61B419A0B2}" dt="2021-02-22T14:08:24.233" v="12" actId="27636"/>
        <pc:sldMkLst>
          <pc:docMk/>
          <pc:sldMk cId="3061920705" sldId="341"/>
        </pc:sldMkLst>
        <pc:spChg chg="mod">
          <ac:chgData name="Quiros Araya, Gustavo (T RDA FOA AES-US)" userId="87a2443b-d0c9-4518-9ebc-d799baa37986" providerId="ADAL" clId="{87980A0B-C844-445C-8314-DD61B419A0B2}" dt="2021-02-22T14:08:24.233" v="12" actId="27636"/>
          <ac:spMkLst>
            <pc:docMk/>
            <pc:sldMk cId="3061920705" sldId="341"/>
            <ac:spMk id="11" creationId="{F6B6AF98-2DB1-4FBB-B759-6D46D578849A}"/>
          </ac:spMkLst>
        </pc:spChg>
      </pc:sldChg>
    </pc:docChg>
  </pc:docChgLst>
  <pc:docChgLst>
    <pc:chgData name="Mishra, Anant Kumar (T RDA FOA PAE-US)" userId="d6d92bde-41c5-4ff2-860b-3937158d805f" providerId="ADAL" clId="{C789B9B3-B53F-4DE3-965A-B469BD3DC444}"/>
    <pc:docChg chg="undo redo custSel modSld modMainMaster">
      <pc:chgData name="Mishra, Anant Kumar (T RDA FOA PAE-US)" userId="d6d92bde-41c5-4ff2-860b-3937158d805f" providerId="ADAL" clId="{C789B9B3-B53F-4DE3-965A-B469BD3DC444}" dt="2021-04-20T12:04:52.010" v="544"/>
      <pc:docMkLst>
        <pc:docMk/>
      </pc:docMkLst>
      <pc:sldChg chg="addSp delSp modSp mod">
        <pc:chgData name="Mishra, Anant Kumar (T RDA FOA PAE-US)" userId="d6d92bde-41c5-4ff2-860b-3937158d805f" providerId="ADAL" clId="{C789B9B3-B53F-4DE3-965A-B469BD3DC444}" dt="2021-04-19T20:12:51.966" v="298" actId="20577"/>
        <pc:sldMkLst>
          <pc:docMk/>
          <pc:sldMk cId="2772057799" sldId="269"/>
        </pc:sldMkLst>
        <pc:spChg chg="mod">
          <ac:chgData name="Mishra, Anant Kumar (T RDA FOA PAE-US)" userId="d6d92bde-41c5-4ff2-860b-3937158d805f" providerId="ADAL" clId="{C789B9B3-B53F-4DE3-965A-B469BD3DC444}" dt="2021-04-19T20:12:51.966" v="298" actId="20577"/>
          <ac:spMkLst>
            <pc:docMk/>
            <pc:sldMk cId="2772057799" sldId="269"/>
            <ac:spMk id="2" creationId="{B029E94C-D7A9-45CA-824D-C249B70F72C4}"/>
          </ac:spMkLst>
        </pc:spChg>
        <pc:spChg chg="add del mod">
          <ac:chgData name="Mishra, Anant Kumar (T RDA FOA PAE-US)" userId="d6d92bde-41c5-4ff2-860b-3937158d805f" providerId="ADAL" clId="{C789B9B3-B53F-4DE3-965A-B469BD3DC444}" dt="2021-04-19T20:12:18.330" v="280" actId="478"/>
          <ac:spMkLst>
            <pc:docMk/>
            <pc:sldMk cId="2772057799" sldId="269"/>
            <ac:spMk id="17" creationId="{70DDAC0D-7535-4FAC-B799-6F3BF979B933}"/>
          </ac:spMkLst>
        </pc:spChg>
      </pc:sldChg>
      <pc:sldChg chg="modSp mod">
        <pc:chgData name="Mishra, Anant Kumar (T RDA FOA PAE-US)" userId="d6d92bde-41c5-4ff2-860b-3937158d805f" providerId="ADAL" clId="{C789B9B3-B53F-4DE3-965A-B469BD3DC444}" dt="2021-04-19T20:26:08.088" v="533" actId="20577"/>
        <pc:sldMkLst>
          <pc:docMk/>
          <pc:sldMk cId="1833066551" sldId="273"/>
        </pc:sldMkLst>
        <pc:spChg chg="mod">
          <ac:chgData name="Mishra, Anant Kumar (T RDA FOA PAE-US)" userId="d6d92bde-41c5-4ff2-860b-3937158d805f" providerId="ADAL" clId="{C789B9B3-B53F-4DE3-965A-B469BD3DC444}" dt="2021-04-19T20:26:08.088" v="533" actId="20577"/>
          <ac:spMkLst>
            <pc:docMk/>
            <pc:sldMk cId="1833066551" sldId="273"/>
            <ac:spMk id="2" creationId="{B029E94C-D7A9-45CA-824D-C249B70F72C4}"/>
          </ac:spMkLst>
        </pc:spChg>
      </pc:sldChg>
      <pc:sldChg chg="modSp mod">
        <pc:chgData name="Mishra, Anant Kumar (T RDA FOA PAE-US)" userId="d6d92bde-41c5-4ff2-860b-3937158d805f" providerId="ADAL" clId="{C789B9B3-B53F-4DE3-965A-B469BD3DC444}" dt="2021-04-19T20:24:39.521" v="447"/>
        <pc:sldMkLst>
          <pc:docMk/>
          <pc:sldMk cId="2396142416" sldId="274"/>
        </pc:sldMkLst>
        <pc:spChg chg="mod">
          <ac:chgData name="Mishra, Anant Kumar (T RDA FOA PAE-US)" userId="d6d92bde-41c5-4ff2-860b-3937158d805f" providerId="ADAL" clId="{C789B9B3-B53F-4DE3-965A-B469BD3DC444}" dt="2021-04-19T20:24:39.521" v="447"/>
          <ac:spMkLst>
            <pc:docMk/>
            <pc:sldMk cId="2396142416" sldId="274"/>
            <ac:spMk id="2" creationId="{626EF3AF-7570-4042-BF8D-D74417C7BA43}"/>
          </ac:spMkLst>
        </pc:spChg>
        <pc:spChg chg="mod">
          <ac:chgData name="Mishra, Anant Kumar (T RDA FOA PAE-US)" userId="d6d92bde-41c5-4ff2-860b-3937158d805f" providerId="ADAL" clId="{C789B9B3-B53F-4DE3-965A-B469BD3DC444}" dt="2021-04-19T20:16:38.700" v="436" actId="20577"/>
          <ac:spMkLst>
            <pc:docMk/>
            <pc:sldMk cId="2396142416" sldId="274"/>
            <ac:spMk id="5" creationId="{D6865898-00B7-46AC-B6F5-0E158F418D65}"/>
          </ac:spMkLst>
        </pc:spChg>
      </pc:sldChg>
      <pc:sldChg chg="modSp mod addCm modCm">
        <pc:chgData name="Mishra, Anant Kumar (T RDA FOA PAE-US)" userId="d6d92bde-41c5-4ff2-860b-3937158d805f" providerId="ADAL" clId="{C789B9B3-B53F-4DE3-965A-B469BD3DC444}" dt="2021-04-19T22:28:36.954" v="542" actId="1076"/>
        <pc:sldMkLst>
          <pc:docMk/>
          <pc:sldMk cId="2792579547" sldId="275"/>
        </pc:sldMkLst>
        <pc:spChg chg="mod">
          <ac:chgData name="Mishra, Anant Kumar (T RDA FOA PAE-US)" userId="d6d92bde-41c5-4ff2-860b-3937158d805f" providerId="ADAL" clId="{C789B9B3-B53F-4DE3-965A-B469BD3DC444}" dt="2021-04-19T22:28:36.954" v="542" actId="1076"/>
          <ac:spMkLst>
            <pc:docMk/>
            <pc:sldMk cId="2792579547" sldId="275"/>
            <ac:spMk id="3" creationId="{BB6EDDEA-33FE-4E53-A4C3-56154C7A680E}"/>
          </ac:spMkLst>
        </pc:spChg>
      </pc:sldChg>
      <pc:sldChg chg="modSp mod">
        <pc:chgData name="Mishra, Anant Kumar (T RDA FOA PAE-US)" userId="d6d92bde-41c5-4ff2-860b-3937158d805f" providerId="ADAL" clId="{C789B9B3-B53F-4DE3-965A-B469BD3DC444}" dt="2021-04-19T19:57:10.949" v="74" actId="14100"/>
        <pc:sldMkLst>
          <pc:docMk/>
          <pc:sldMk cId="4210428915" sldId="3198"/>
        </pc:sldMkLst>
        <pc:spChg chg="mod">
          <ac:chgData name="Mishra, Anant Kumar (T RDA FOA PAE-US)" userId="d6d92bde-41c5-4ff2-860b-3937158d805f" providerId="ADAL" clId="{C789B9B3-B53F-4DE3-965A-B469BD3DC444}" dt="2021-04-19T19:57:10.949" v="74" actId="14100"/>
          <ac:spMkLst>
            <pc:docMk/>
            <pc:sldMk cId="4210428915" sldId="3198"/>
            <ac:spMk id="2" creationId="{8FDA17C2-CC0D-4A70-A1C4-4DAA44F64772}"/>
          </ac:spMkLst>
        </pc:spChg>
      </pc:sldChg>
      <pc:sldChg chg="delSp modSp mod addCm modCm">
        <pc:chgData name="Mishra, Anant Kumar (T RDA FOA PAE-US)" userId="d6d92bde-41c5-4ff2-860b-3937158d805f" providerId="ADAL" clId="{C789B9B3-B53F-4DE3-965A-B469BD3DC444}" dt="2021-04-20T12:04:52.010" v="544"/>
        <pc:sldMkLst>
          <pc:docMk/>
          <pc:sldMk cId="3882935950" sldId="3202"/>
        </pc:sldMkLst>
        <pc:spChg chg="del">
          <ac:chgData name="Mishra, Anant Kumar (T RDA FOA PAE-US)" userId="d6d92bde-41c5-4ff2-860b-3937158d805f" providerId="ADAL" clId="{C789B9B3-B53F-4DE3-965A-B469BD3DC444}" dt="2021-04-19T19:53:57.226" v="37" actId="478"/>
          <ac:spMkLst>
            <pc:docMk/>
            <pc:sldMk cId="3882935950" sldId="3202"/>
            <ac:spMk id="14" creationId="{C049AA43-6CF0-43B7-87D6-DA19993C949E}"/>
          </ac:spMkLst>
        </pc:spChg>
        <pc:spChg chg="mod">
          <ac:chgData name="Mishra, Anant Kumar (T RDA FOA PAE-US)" userId="d6d92bde-41c5-4ff2-860b-3937158d805f" providerId="ADAL" clId="{C789B9B3-B53F-4DE3-965A-B469BD3DC444}" dt="2021-04-19T21:58:42.324" v="540" actId="404"/>
          <ac:spMkLst>
            <pc:docMk/>
            <pc:sldMk cId="3882935950" sldId="3202"/>
            <ac:spMk id="23" creationId="{DD08914F-45CD-469A-BE7D-4460BFDB5418}"/>
          </ac:spMkLst>
        </pc:spChg>
        <pc:spChg chg="mod">
          <ac:chgData name="Mishra, Anant Kumar (T RDA FOA PAE-US)" userId="d6d92bde-41c5-4ff2-860b-3937158d805f" providerId="ADAL" clId="{C789B9B3-B53F-4DE3-965A-B469BD3DC444}" dt="2021-04-19T19:52:32.935" v="3" actId="14100"/>
          <ac:spMkLst>
            <pc:docMk/>
            <pc:sldMk cId="3882935950" sldId="3202"/>
            <ac:spMk id="31" creationId="{963F111D-0150-40E4-B3BF-0FCF6E55EC91}"/>
          </ac:spMkLst>
        </pc:spChg>
        <pc:spChg chg="mod">
          <ac:chgData name="Mishra, Anant Kumar (T RDA FOA PAE-US)" userId="d6d92bde-41c5-4ff2-860b-3937158d805f" providerId="ADAL" clId="{C789B9B3-B53F-4DE3-965A-B469BD3DC444}" dt="2021-04-19T19:52:27.767" v="2" actId="14100"/>
          <ac:spMkLst>
            <pc:docMk/>
            <pc:sldMk cId="3882935950" sldId="3202"/>
            <ac:spMk id="37" creationId="{11B849E8-CF6F-4A6C-BF1E-8DA7D1A36028}"/>
          </ac:spMkLst>
        </pc:spChg>
        <pc:spChg chg="mod">
          <ac:chgData name="Mishra, Anant Kumar (T RDA FOA PAE-US)" userId="d6d92bde-41c5-4ff2-860b-3937158d805f" providerId="ADAL" clId="{C789B9B3-B53F-4DE3-965A-B469BD3DC444}" dt="2021-04-19T19:53:46.267" v="36" actId="404"/>
          <ac:spMkLst>
            <pc:docMk/>
            <pc:sldMk cId="3882935950" sldId="3202"/>
            <ac:spMk id="46" creationId="{9A5F9D68-7884-40A6-90FF-4979BA9E147D}"/>
          </ac:spMkLst>
        </pc:spChg>
        <pc:spChg chg="mod">
          <ac:chgData name="Mishra, Anant Kumar (T RDA FOA PAE-US)" userId="d6d92bde-41c5-4ff2-860b-3937158d805f" providerId="ADAL" clId="{C789B9B3-B53F-4DE3-965A-B469BD3DC444}" dt="2021-04-19T19:53:40.555" v="34" actId="404"/>
          <ac:spMkLst>
            <pc:docMk/>
            <pc:sldMk cId="3882935950" sldId="3202"/>
            <ac:spMk id="47" creationId="{EA3E81D7-85A0-4CD6-9977-93E94F25E3C6}"/>
          </ac:spMkLst>
        </pc:spChg>
        <pc:spChg chg="mod">
          <ac:chgData name="Mishra, Anant Kumar (T RDA FOA PAE-US)" userId="d6d92bde-41c5-4ff2-860b-3937158d805f" providerId="ADAL" clId="{C789B9B3-B53F-4DE3-965A-B469BD3DC444}" dt="2021-04-19T19:53:35.843" v="32" actId="404"/>
          <ac:spMkLst>
            <pc:docMk/>
            <pc:sldMk cId="3882935950" sldId="3202"/>
            <ac:spMk id="48" creationId="{BEE821DA-61E0-41AD-BE88-F31AD34214EF}"/>
          </ac:spMkLst>
        </pc:spChg>
        <pc:spChg chg="mod">
          <ac:chgData name="Mishra, Anant Kumar (T RDA FOA PAE-US)" userId="d6d92bde-41c5-4ff2-860b-3937158d805f" providerId="ADAL" clId="{C789B9B3-B53F-4DE3-965A-B469BD3DC444}" dt="2021-04-19T19:53:28.978" v="30" actId="404"/>
          <ac:spMkLst>
            <pc:docMk/>
            <pc:sldMk cId="3882935950" sldId="3202"/>
            <ac:spMk id="52" creationId="{3FA45A20-67AC-4699-8C35-B394B178A5AC}"/>
          </ac:spMkLst>
        </pc:spChg>
        <pc:spChg chg="mod">
          <ac:chgData name="Mishra, Anant Kumar (T RDA FOA PAE-US)" userId="d6d92bde-41c5-4ff2-860b-3937158d805f" providerId="ADAL" clId="{C789B9B3-B53F-4DE3-965A-B469BD3DC444}" dt="2021-04-19T19:55:04.709" v="40" actId="693"/>
          <ac:spMkLst>
            <pc:docMk/>
            <pc:sldMk cId="3882935950" sldId="3202"/>
            <ac:spMk id="65" creationId="{6951287A-A284-4A05-8269-62D6A302F09E}"/>
          </ac:spMkLst>
        </pc:spChg>
        <pc:cxnChg chg="mod">
          <ac:chgData name="Mishra, Anant Kumar (T RDA FOA PAE-US)" userId="d6d92bde-41c5-4ff2-860b-3937158d805f" providerId="ADAL" clId="{C789B9B3-B53F-4DE3-965A-B469BD3DC444}" dt="2021-04-19T19:52:54.616" v="4" actId="14100"/>
          <ac:cxnSpMkLst>
            <pc:docMk/>
            <pc:sldMk cId="3882935950" sldId="3202"/>
            <ac:cxnSpMk id="57" creationId="{9F2992F5-31E1-4E1C-A1D8-6FED1F79FF4F}"/>
          </ac:cxnSpMkLst>
        </pc:cxnChg>
      </pc:sldChg>
      <pc:sldChg chg="modSp mod">
        <pc:chgData name="Mishra, Anant Kumar (T RDA FOA PAE-US)" userId="d6d92bde-41c5-4ff2-860b-3937158d805f" providerId="ADAL" clId="{C789B9B3-B53F-4DE3-965A-B469BD3DC444}" dt="2021-04-19T20:03:36.275" v="94" actId="1582"/>
        <pc:sldMkLst>
          <pc:docMk/>
          <pc:sldMk cId="793663221" sldId="3203"/>
        </pc:sldMkLst>
        <pc:spChg chg="mod">
          <ac:chgData name="Mishra, Anant Kumar (T RDA FOA PAE-US)" userId="d6d92bde-41c5-4ff2-860b-3937158d805f" providerId="ADAL" clId="{C789B9B3-B53F-4DE3-965A-B469BD3DC444}" dt="2021-04-19T19:56:32.509" v="70" actId="20577"/>
          <ac:spMkLst>
            <pc:docMk/>
            <pc:sldMk cId="793663221" sldId="3203"/>
            <ac:spMk id="2" creationId="{23EA1F05-DCD8-40DA-ACAC-38B39A2B7D10}"/>
          </ac:spMkLst>
        </pc:spChg>
        <pc:spChg chg="mod">
          <ac:chgData name="Mishra, Anant Kumar (T RDA FOA PAE-US)" userId="d6d92bde-41c5-4ff2-860b-3937158d805f" providerId="ADAL" clId="{C789B9B3-B53F-4DE3-965A-B469BD3DC444}" dt="2021-04-19T20:02:02.926" v="86" actId="14100"/>
          <ac:spMkLst>
            <pc:docMk/>
            <pc:sldMk cId="793663221" sldId="3203"/>
            <ac:spMk id="6" creationId="{1A199477-37D0-44C7-BE1C-7F0D02B1B0E8}"/>
          </ac:spMkLst>
        </pc:spChg>
        <pc:spChg chg="mod">
          <ac:chgData name="Mishra, Anant Kumar (T RDA FOA PAE-US)" userId="d6d92bde-41c5-4ff2-860b-3937158d805f" providerId="ADAL" clId="{C789B9B3-B53F-4DE3-965A-B469BD3DC444}" dt="2021-04-19T20:01:36.060" v="83" actId="1076"/>
          <ac:spMkLst>
            <pc:docMk/>
            <pc:sldMk cId="793663221" sldId="3203"/>
            <ac:spMk id="12" creationId="{A55743B1-2284-4D6D-BE7A-E2AFA19E3364}"/>
          </ac:spMkLst>
        </pc:spChg>
        <pc:spChg chg="mod">
          <ac:chgData name="Mishra, Anant Kumar (T RDA FOA PAE-US)" userId="d6d92bde-41c5-4ff2-860b-3937158d805f" providerId="ADAL" clId="{C789B9B3-B53F-4DE3-965A-B469BD3DC444}" dt="2021-04-19T20:02:41.461" v="93" actId="1076"/>
          <ac:spMkLst>
            <pc:docMk/>
            <pc:sldMk cId="793663221" sldId="3203"/>
            <ac:spMk id="13" creationId="{E0901B3B-1A90-4CD3-A9F9-F254638593E6}"/>
          </ac:spMkLst>
        </pc:spChg>
        <pc:spChg chg="mod">
          <ac:chgData name="Mishra, Anant Kumar (T RDA FOA PAE-US)" userId="d6d92bde-41c5-4ff2-860b-3937158d805f" providerId="ADAL" clId="{C789B9B3-B53F-4DE3-965A-B469BD3DC444}" dt="2021-04-19T20:03:36.275" v="94" actId="1582"/>
          <ac:spMkLst>
            <pc:docMk/>
            <pc:sldMk cId="793663221" sldId="3203"/>
            <ac:spMk id="16" creationId="{B5AF3F09-13B3-46F3-815B-6E0B4DBA7B55}"/>
          </ac:spMkLst>
        </pc:spChg>
        <pc:spChg chg="mod">
          <ac:chgData name="Mishra, Anant Kumar (T RDA FOA PAE-US)" userId="d6d92bde-41c5-4ff2-860b-3937158d805f" providerId="ADAL" clId="{C789B9B3-B53F-4DE3-965A-B469BD3DC444}" dt="2021-04-19T20:03:36.275" v="94" actId="1582"/>
          <ac:spMkLst>
            <pc:docMk/>
            <pc:sldMk cId="793663221" sldId="3203"/>
            <ac:spMk id="21" creationId="{F8281A41-E0CB-453D-8C0D-6A5E923ECFD0}"/>
          </ac:spMkLst>
        </pc:spChg>
        <pc:spChg chg="mod">
          <ac:chgData name="Mishra, Anant Kumar (T RDA FOA PAE-US)" userId="d6d92bde-41c5-4ff2-860b-3937158d805f" providerId="ADAL" clId="{C789B9B3-B53F-4DE3-965A-B469BD3DC444}" dt="2021-04-19T20:03:36.275" v="94" actId="1582"/>
          <ac:spMkLst>
            <pc:docMk/>
            <pc:sldMk cId="793663221" sldId="3203"/>
            <ac:spMk id="22" creationId="{A4468926-BE06-4C35-9B2D-C44D745CE834}"/>
          </ac:spMkLst>
        </pc:spChg>
        <pc:spChg chg="mod">
          <ac:chgData name="Mishra, Anant Kumar (T RDA FOA PAE-US)" userId="d6d92bde-41c5-4ff2-860b-3937158d805f" providerId="ADAL" clId="{C789B9B3-B53F-4DE3-965A-B469BD3DC444}" dt="2021-04-19T20:03:36.275" v="94" actId="1582"/>
          <ac:spMkLst>
            <pc:docMk/>
            <pc:sldMk cId="793663221" sldId="3203"/>
            <ac:spMk id="24" creationId="{32D6C52E-810A-4705-BB39-A9424693BF03}"/>
          </ac:spMkLst>
        </pc:spChg>
        <pc:cxnChg chg="mod">
          <ac:chgData name="Mishra, Anant Kumar (T RDA FOA PAE-US)" userId="d6d92bde-41c5-4ff2-860b-3937158d805f" providerId="ADAL" clId="{C789B9B3-B53F-4DE3-965A-B469BD3DC444}" dt="2021-04-19T20:02:19.885" v="90" actId="14100"/>
          <ac:cxnSpMkLst>
            <pc:docMk/>
            <pc:sldMk cId="793663221" sldId="3203"/>
            <ac:cxnSpMk id="9" creationId="{9FBDCE59-F617-4F8E-8557-E05B700A3D79}"/>
          </ac:cxnSpMkLst>
        </pc:cxnChg>
        <pc:cxnChg chg="mod">
          <ac:chgData name="Mishra, Anant Kumar (T RDA FOA PAE-US)" userId="d6d92bde-41c5-4ff2-860b-3937158d805f" providerId="ADAL" clId="{C789B9B3-B53F-4DE3-965A-B469BD3DC444}" dt="2021-04-19T20:02:34.993" v="92" actId="14100"/>
          <ac:cxnSpMkLst>
            <pc:docMk/>
            <pc:sldMk cId="793663221" sldId="3203"/>
            <ac:cxnSpMk id="10" creationId="{49DD86D8-B77C-4E3C-A882-9A71A37CED8E}"/>
          </ac:cxnSpMkLst>
        </pc:cxnChg>
      </pc:sldChg>
      <pc:sldMasterChg chg="modSp mod modSldLayout">
        <pc:chgData name="Mishra, Anant Kumar (T RDA FOA PAE-US)" userId="d6d92bde-41c5-4ff2-860b-3937158d805f" providerId="ADAL" clId="{C789B9B3-B53F-4DE3-965A-B469BD3DC444}" dt="2021-04-19T19:58:06.962" v="78" actId="20577"/>
        <pc:sldMasterMkLst>
          <pc:docMk/>
          <pc:sldMasterMk cId="1698585145" sldId="2147483648"/>
        </pc:sldMasterMkLst>
        <pc:spChg chg="mod">
          <ac:chgData name="Mishra, Anant Kumar (T RDA FOA PAE-US)" userId="d6d92bde-41c5-4ff2-860b-3937158d805f" providerId="ADAL" clId="{C789B9B3-B53F-4DE3-965A-B469BD3DC444}" dt="2021-04-19T19:57:37.684" v="76" actId="20577"/>
          <ac:spMkLst>
            <pc:docMk/>
            <pc:sldMasterMk cId="1698585145" sldId="2147483648"/>
            <ac:spMk id="5" creationId="{4F5CAFE5-0972-49AB-B42B-7C613C153AFE}"/>
          </ac:spMkLst>
        </pc:spChg>
        <pc:sldLayoutChg chg="modSp mod">
          <pc:chgData name="Mishra, Anant Kumar (T RDA FOA PAE-US)" userId="d6d92bde-41c5-4ff2-860b-3937158d805f" providerId="ADAL" clId="{C789B9B3-B53F-4DE3-965A-B469BD3DC444}" dt="2021-04-19T19:58:06.962" v="78" actId="20577"/>
          <pc:sldLayoutMkLst>
            <pc:docMk/>
            <pc:sldMasterMk cId="1698585145" sldId="2147483648"/>
            <pc:sldLayoutMk cId="3368145877" sldId="2147483788"/>
          </pc:sldLayoutMkLst>
          <pc:spChg chg="mod">
            <ac:chgData name="Mishra, Anant Kumar (T RDA FOA PAE-US)" userId="d6d92bde-41c5-4ff2-860b-3937158d805f" providerId="ADAL" clId="{C789B9B3-B53F-4DE3-965A-B469BD3DC444}" dt="2021-04-19T19:58:06.962" v="78" actId="20577"/>
            <ac:spMkLst>
              <pc:docMk/>
              <pc:sldMasterMk cId="1698585145" sldId="2147483648"/>
              <pc:sldLayoutMk cId="3368145877" sldId="2147483788"/>
              <ac:spMk id="8" creationId="{4A82D1FE-933F-4CF5-817D-93F13F41C929}"/>
            </ac:spMkLst>
          </pc:spChg>
        </pc:sldLayoutChg>
      </pc:sldMasterChg>
    </pc:docChg>
  </pc:docChgLst>
  <pc:docChgLst>
    <pc:chgData name="Quiros Araya, Gustavo (T RDA FOA AES-US)" userId="87a2443b-d0c9-4518-9ebc-d799baa37986" providerId="ADAL" clId="{B3978012-9C64-4ECC-89E3-A2E0B6652A19}"/>
    <pc:docChg chg="undo custSel addSld delSld modSld sldOrd">
      <pc:chgData name="Quiros Araya, Gustavo (T RDA FOA AES-US)" userId="87a2443b-d0c9-4518-9ebc-d799baa37986" providerId="ADAL" clId="{B3978012-9C64-4ECC-89E3-A2E0B6652A19}" dt="2021-03-12T13:25:55.035" v="1391" actId="20577"/>
      <pc:docMkLst>
        <pc:docMk/>
      </pc:docMkLst>
      <pc:sldChg chg="del">
        <pc:chgData name="Quiros Araya, Gustavo (T RDA FOA AES-US)" userId="87a2443b-d0c9-4518-9ebc-d799baa37986" providerId="ADAL" clId="{B3978012-9C64-4ECC-89E3-A2E0B6652A19}" dt="2021-03-12T06:40:38.651" v="1" actId="47"/>
        <pc:sldMkLst>
          <pc:docMk/>
          <pc:sldMk cId="255591453" sldId="340"/>
        </pc:sldMkLst>
      </pc:sldChg>
      <pc:sldChg chg="ord">
        <pc:chgData name="Quiros Araya, Gustavo (T RDA FOA AES-US)" userId="87a2443b-d0c9-4518-9ebc-d799baa37986" providerId="ADAL" clId="{B3978012-9C64-4ECC-89E3-A2E0B6652A19}" dt="2021-03-12T07:32:42.901" v="1347"/>
        <pc:sldMkLst>
          <pc:docMk/>
          <pc:sldMk cId="3061920705" sldId="341"/>
        </pc:sldMkLst>
      </pc:sldChg>
      <pc:sldChg chg="ord">
        <pc:chgData name="Quiros Araya, Gustavo (T RDA FOA AES-US)" userId="87a2443b-d0c9-4518-9ebc-d799baa37986" providerId="ADAL" clId="{B3978012-9C64-4ECC-89E3-A2E0B6652A19}" dt="2021-03-12T07:20:42.655" v="1007"/>
        <pc:sldMkLst>
          <pc:docMk/>
          <pc:sldMk cId="2257611418" sldId="342"/>
        </pc:sldMkLst>
      </pc:sldChg>
      <pc:sldChg chg="del">
        <pc:chgData name="Quiros Araya, Gustavo (T RDA FOA AES-US)" userId="87a2443b-d0c9-4518-9ebc-d799baa37986" providerId="ADAL" clId="{B3978012-9C64-4ECC-89E3-A2E0B6652A19}" dt="2021-03-12T07:21:38.560" v="1010" actId="47"/>
        <pc:sldMkLst>
          <pc:docMk/>
          <pc:sldMk cId="3433256571" sldId="347"/>
        </pc:sldMkLst>
      </pc:sldChg>
      <pc:sldChg chg="del">
        <pc:chgData name="Quiros Araya, Gustavo (T RDA FOA AES-US)" userId="87a2443b-d0c9-4518-9ebc-d799baa37986" providerId="ADAL" clId="{B3978012-9C64-4ECC-89E3-A2E0B6652A19}" dt="2021-03-12T07:21:40.832" v="1011" actId="47"/>
        <pc:sldMkLst>
          <pc:docMk/>
          <pc:sldMk cId="4264532081" sldId="348"/>
        </pc:sldMkLst>
      </pc:sldChg>
      <pc:sldChg chg="del">
        <pc:chgData name="Quiros Araya, Gustavo (T RDA FOA AES-US)" userId="87a2443b-d0c9-4518-9ebc-d799baa37986" providerId="ADAL" clId="{B3978012-9C64-4ECC-89E3-A2E0B6652A19}" dt="2021-03-12T07:21:04.128" v="1008" actId="47"/>
        <pc:sldMkLst>
          <pc:docMk/>
          <pc:sldMk cId="4267342481" sldId="3192"/>
        </pc:sldMkLst>
      </pc:sldChg>
      <pc:sldChg chg="del">
        <pc:chgData name="Quiros Araya, Gustavo (T RDA FOA AES-US)" userId="87a2443b-d0c9-4518-9ebc-d799baa37986" providerId="ADAL" clId="{B3978012-9C64-4ECC-89E3-A2E0B6652A19}" dt="2021-03-12T07:21:18.251" v="1009" actId="47"/>
        <pc:sldMkLst>
          <pc:docMk/>
          <pc:sldMk cId="1083926550" sldId="3193"/>
        </pc:sldMkLst>
      </pc:sldChg>
      <pc:sldChg chg="ord">
        <pc:chgData name="Quiros Araya, Gustavo (T RDA FOA AES-US)" userId="87a2443b-d0c9-4518-9ebc-d799baa37986" providerId="ADAL" clId="{B3978012-9C64-4ECC-89E3-A2E0B6652A19}" dt="2021-03-12T07:32:02.760" v="1343"/>
        <pc:sldMkLst>
          <pc:docMk/>
          <pc:sldMk cId="4053279906" sldId="3197"/>
        </pc:sldMkLst>
      </pc:sldChg>
      <pc:sldChg chg="modSp add mod">
        <pc:chgData name="Quiros Araya, Gustavo (T RDA FOA AES-US)" userId="87a2443b-d0c9-4518-9ebc-d799baa37986" providerId="ADAL" clId="{B3978012-9C64-4ECC-89E3-A2E0B6652A19}" dt="2021-03-12T06:40:43.230" v="7" actId="20577"/>
        <pc:sldMkLst>
          <pc:docMk/>
          <pc:sldMk cId="4210428915" sldId="3198"/>
        </pc:sldMkLst>
        <pc:spChg chg="mod">
          <ac:chgData name="Quiros Araya, Gustavo (T RDA FOA AES-US)" userId="87a2443b-d0c9-4518-9ebc-d799baa37986" providerId="ADAL" clId="{B3978012-9C64-4ECC-89E3-A2E0B6652A19}" dt="2021-03-12T06:40:43.230" v="7" actId="20577"/>
          <ac:spMkLst>
            <pc:docMk/>
            <pc:sldMk cId="4210428915" sldId="3198"/>
            <ac:spMk id="6" creationId="{DA865AB3-8AE0-4AB0-94C2-2E517EC147DE}"/>
          </ac:spMkLst>
        </pc:spChg>
      </pc:sldChg>
      <pc:sldChg chg="addSp delSp modSp new mod">
        <pc:chgData name="Quiros Araya, Gustavo (T RDA FOA AES-US)" userId="87a2443b-d0c9-4518-9ebc-d799baa37986" providerId="ADAL" clId="{B3978012-9C64-4ECC-89E3-A2E0B6652A19}" dt="2021-03-12T07:34:42.622" v="1362" actId="1076"/>
        <pc:sldMkLst>
          <pc:docMk/>
          <pc:sldMk cId="148550056" sldId="3199"/>
        </pc:sldMkLst>
        <pc:spChg chg="mod">
          <ac:chgData name="Quiros Araya, Gustavo (T RDA FOA AES-US)" userId="87a2443b-d0c9-4518-9ebc-d799baa37986" providerId="ADAL" clId="{B3978012-9C64-4ECC-89E3-A2E0B6652A19}" dt="2021-03-12T07:16:08.784" v="917"/>
          <ac:spMkLst>
            <pc:docMk/>
            <pc:sldMk cId="148550056" sldId="3199"/>
            <ac:spMk id="2" creationId="{421662E7-897F-43F8-A19D-B7A2D53A84A0}"/>
          </ac:spMkLst>
        </pc:spChg>
        <pc:spChg chg="mod">
          <ac:chgData name="Quiros Araya, Gustavo (T RDA FOA AES-US)" userId="87a2443b-d0c9-4518-9ebc-d799baa37986" providerId="ADAL" clId="{B3978012-9C64-4ECC-89E3-A2E0B6652A19}" dt="2021-03-12T07:18:44.465" v="997"/>
          <ac:spMkLst>
            <pc:docMk/>
            <pc:sldMk cId="148550056" sldId="3199"/>
            <ac:spMk id="3" creationId="{13B040DB-C9A9-40A5-8318-62AAF6970D48}"/>
          </ac:spMkLst>
        </pc:spChg>
        <pc:spChg chg="add mod">
          <ac:chgData name="Quiros Araya, Gustavo (T RDA FOA AES-US)" userId="87a2443b-d0c9-4518-9ebc-d799baa37986" providerId="ADAL" clId="{B3978012-9C64-4ECC-89E3-A2E0B6652A19}" dt="2021-03-12T07:06:15.095" v="419" actId="1076"/>
          <ac:spMkLst>
            <pc:docMk/>
            <pc:sldMk cId="148550056" sldId="3199"/>
            <ac:spMk id="5" creationId="{4D45C111-CFEB-4D49-B007-E1DBC1155E33}"/>
          </ac:spMkLst>
        </pc:spChg>
        <pc:spChg chg="add mod">
          <ac:chgData name="Quiros Araya, Gustavo (T RDA FOA AES-US)" userId="87a2443b-d0c9-4518-9ebc-d799baa37986" providerId="ADAL" clId="{B3978012-9C64-4ECC-89E3-A2E0B6652A19}" dt="2021-03-12T07:06:31.091" v="423" actId="1076"/>
          <ac:spMkLst>
            <pc:docMk/>
            <pc:sldMk cId="148550056" sldId="3199"/>
            <ac:spMk id="8" creationId="{FBF2B40B-7E3C-4183-9B4A-784A0E82380A}"/>
          </ac:spMkLst>
        </pc:spChg>
        <pc:spChg chg="add mod">
          <ac:chgData name="Quiros Araya, Gustavo (T RDA FOA AES-US)" userId="87a2443b-d0c9-4518-9ebc-d799baa37986" providerId="ADAL" clId="{B3978012-9C64-4ECC-89E3-A2E0B6652A19}" dt="2021-03-12T07:17:10.656" v="967" actId="20577"/>
          <ac:spMkLst>
            <pc:docMk/>
            <pc:sldMk cId="148550056" sldId="3199"/>
            <ac:spMk id="9" creationId="{BB5F1429-0989-4212-82AA-D736F8F6FB09}"/>
          </ac:spMkLst>
        </pc:spChg>
        <pc:spChg chg="add mod">
          <ac:chgData name="Quiros Araya, Gustavo (T RDA FOA AES-US)" userId="87a2443b-d0c9-4518-9ebc-d799baa37986" providerId="ADAL" clId="{B3978012-9C64-4ECC-89E3-A2E0B6652A19}" dt="2021-03-12T07:18:29.132" v="996" actId="14100"/>
          <ac:spMkLst>
            <pc:docMk/>
            <pc:sldMk cId="148550056" sldId="3199"/>
            <ac:spMk id="10" creationId="{00723739-4F35-4C3D-B77C-0EFBA2B032F0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12" creationId="{A7B0E746-0113-4EAF-95FB-E479644F3905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13" creationId="{E6F07A50-C88C-475F-B423-2E2F1C675917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15" creationId="{77E4A3F2-F50A-4952-85E4-C0AEA70A23E7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16" creationId="{6DF26702-DE97-4B93-8D03-0D58E5ADC8FE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18" creationId="{A5753D38-5BE7-4490-9944-552C205511C3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19" creationId="{DC4688AC-0EC7-4CBD-8858-3D1069550FBD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21" creationId="{6D3CBC99-2ECA-42C5-8CDB-47FC9CE8AB95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22" creationId="{9417F335-37A4-46FC-8307-DA80CA092910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24" creationId="{E49C1559-EE59-48B1-8658-FC747FBFAB79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25" creationId="{F499D888-D17B-477A-B10F-739BCB9C6E88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27" creationId="{FACEE594-A789-4106-B843-BFEC0E1BB4E8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28" creationId="{1BC1F6FD-B69F-4A38-935E-9D0DEA7CE3FD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30" creationId="{C7F9645E-91F5-4D82-84DD-90C7C5BA859C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31" creationId="{67B621B2-0C68-4E5A-8039-2733D3DA37A8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33" creationId="{5C186D5B-B608-4A55-BFF1-ACBCC94C974B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34" creationId="{3E90CE41-54AC-4A88-927A-4EAC1F6DEA4B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36" creationId="{9FB78FD6-3794-4993-A929-C6A444B0401F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37" creationId="{364A3D9E-2C16-432A-B606-5A411905BBFC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39" creationId="{91DA2492-82CD-4174-B59A-FC65F06DA9D2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40" creationId="{73655048-3C0B-43DC-BD9E-F262F35D82F1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42" creationId="{84B165F0-547C-459E-9CBC-830138D9E7E7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43" creationId="{D4D66809-A669-46AF-B4A1-617793CCFC57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45" creationId="{BEFB79E4-8ED9-4F9B-8344-747FDED92435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46" creationId="{3D814A33-1BCD-4D4D-9712-858C9D17F4DB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48" creationId="{8E8A3614-3587-478B-B35D-922B9AB1539C}"/>
          </ac:spMkLst>
        </pc:spChg>
        <pc:spChg chg="mod">
          <ac:chgData name="Quiros Araya, Gustavo (T RDA FOA AES-US)" userId="87a2443b-d0c9-4518-9ebc-d799baa37986" providerId="ADAL" clId="{B3978012-9C64-4ECC-89E3-A2E0B6652A19}" dt="2021-03-12T07:03:49.587" v="379"/>
          <ac:spMkLst>
            <pc:docMk/>
            <pc:sldMk cId="148550056" sldId="3199"/>
            <ac:spMk id="49" creationId="{C391F2E1-5A9C-49AF-8442-DEAA7DF8D94E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50" creationId="{C8B262C9-75C7-44F5-AA3A-F6B42DF99223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51" creationId="{C4BA6062-161D-4A9C-8C69-0D519B4D3D3E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52" creationId="{050532AF-1C70-40D0-A50A-F5F963D63554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53" creationId="{CB984704-64A2-42AE-BA04-35908498599B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54" creationId="{3DCFAE6E-6347-47B9-B888-E3B2475E11DD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55" creationId="{D69477F1-E624-4ECF-9DDA-7CFB2A253B7C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56" creationId="{B17A50E0-F3FF-491A-BE7E-9F7E18E9FB1F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57" creationId="{8E54D089-4CED-46B6-9EBC-48333A276466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04:05.374" v="386"/>
          <ac:spMkLst>
            <pc:docMk/>
            <pc:sldMk cId="148550056" sldId="3199"/>
            <ac:spMk id="58" creationId="{7883B00F-9EA3-4B96-A657-897E8BB7597D}"/>
          </ac:spMkLst>
        </pc:spChg>
        <pc:spChg chg="add mod">
          <ac:chgData name="Quiros Araya, Gustavo (T RDA FOA AES-US)" userId="87a2443b-d0c9-4518-9ebc-d799baa37986" providerId="ADAL" clId="{B3978012-9C64-4ECC-89E3-A2E0B6652A19}" dt="2021-03-12T07:19:36.708" v="1005" actId="14100"/>
          <ac:spMkLst>
            <pc:docMk/>
            <pc:sldMk cId="148550056" sldId="3199"/>
            <ac:spMk id="61" creationId="{444BE4A4-7AF9-4665-B2EE-6308F6E8BEFD}"/>
          </ac:spMkLst>
        </pc:s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14" creationId="{6F071695-3965-4608-85C9-DE134D6B9719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17" creationId="{2E035978-5867-4407-B604-5FAC7F043429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20" creationId="{AAEACA2A-71C0-4CE1-BA56-9EBB866B49C7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23" creationId="{FAC1C4C1-A7BC-4E02-9493-6608321DCA46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26" creationId="{D9859987-F822-446F-ACF3-66AF8EB44AB1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29" creationId="{A2879D9D-4C13-46D3-BD88-D92890A47F20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32" creationId="{C8590EFD-5174-4A8A-9A8E-716B826F3C6A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35" creationId="{277C7C4E-96FD-42DB-AE88-26837F1A4A0C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38" creationId="{DCD3B175-F33A-4B9E-A47D-4E63C34762C7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41" creationId="{98C1FCA5-884A-4DFC-9C54-B034F2D2CC7E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44" creationId="{ABA271E9-9C2C-4D08-A949-B751C215E8FD}"/>
          </ac:grpSpMkLst>
        </pc:grpChg>
        <pc:grpChg chg="add del mod">
          <ac:chgData name="Quiros Araya, Gustavo (T RDA FOA AES-US)" userId="87a2443b-d0c9-4518-9ebc-d799baa37986" providerId="ADAL" clId="{B3978012-9C64-4ECC-89E3-A2E0B6652A19}" dt="2021-03-12T07:04:05.374" v="386"/>
          <ac:grpSpMkLst>
            <pc:docMk/>
            <pc:sldMk cId="148550056" sldId="3199"/>
            <ac:grpSpMk id="47" creationId="{0D957636-9341-4A82-8CA6-889B975BA301}"/>
          </ac:grpSpMkLst>
        </pc:grpChg>
        <pc:picChg chg="add mod">
          <ac:chgData name="Quiros Araya, Gustavo (T RDA FOA AES-US)" userId="87a2443b-d0c9-4518-9ebc-d799baa37986" providerId="ADAL" clId="{B3978012-9C64-4ECC-89E3-A2E0B6652A19}" dt="2021-03-12T07:04:45.229" v="391" actId="14100"/>
          <ac:picMkLst>
            <pc:docMk/>
            <pc:sldMk cId="148550056" sldId="3199"/>
            <ac:picMk id="6" creationId="{CF6BD1B2-D847-4954-B9F6-A7B00AA61F05}"/>
          </ac:picMkLst>
        </pc:picChg>
        <pc:picChg chg="add del mod">
          <ac:chgData name="Quiros Araya, Gustavo (T RDA FOA AES-US)" userId="87a2443b-d0c9-4518-9ebc-d799baa37986" providerId="ADAL" clId="{B3978012-9C64-4ECC-89E3-A2E0B6652A19}" dt="2021-03-12T07:04:04.887" v="385"/>
          <ac:picMkLst>
            <pc:docMk/>
            <pc:sldMk cId="148550056" sldId="3199"/>
            <ac:picMk id="7" creationId="{338A1FBA-FD98-4D2A-AE0E-02DB1B0F77EF}"/>
          </ac:picMkLst>
        </pc:picChg>
        <pc:picChg chg="add del mod">
          <ac:chgData name="Quiros Araya, Gustavo (T RDA FOA AES-US)" userId="87a2443b-d0c9-4518-9ebc-d799baa37986" providerId="ADAL" clId="{B3978012-9C64-4ECC-89E3-A2E0B6652A19}" dt="2021-03-12T07:04:05.374" v="386"/>
          <ac:picMkLst>
            <pc:docMk/>
            <pc:sldMk cId="148550056" sldId="3199"/>
            <ac:picMk id="11" creationId="{CD50ECF8-B0AE-4E78-9AA8-A77D92C72B95}"/>
          </ac:picMkLst>
        </pc:picChg>
        <pc:picChg chg="add mod">
          <ac:chgData name="Quiros Araya, Gustavo (T RDA FOA AES-US)" userId="87a2443b-d0c9-4518-9ebc-d799baa37986" providerId="ADAL" clId="{B3978012-9C64-4ECC-89E3-A2E0B6652A19}" dt="2021-03-12T07:34:42.622" v="1362" actId="1076"/>
          <ac:picMkLst>
            <pc:docMk/>
            <pc:sldMk cId="148550056" sldId="3199"/>
            <ac:picMk id="59" creationId="{3B3C72A1-997E-4750-8586-6ED9CFBD522F}"/>
          </ac:picMkLst>
        </pc:picChg>
        <pc:picChg chg="add mod">
          <ac:chgData name="Quiros Araya, Gustavo (T RDA FOA AES-US)" userId="87a2443b-d0c9-4518-9ebc-d799baa37986" providerId="ADAL" clId="{B3978012-9C64-4ECC-89E3-A2E0B6652A19}" dt="2021-03-12T07:33:13.046" v="1354" actId="1035"/>
          <ac:picMkLst>
            <pc:docMk/>
            <pc:sldMk cId="148550056" sldId="3199"/>
            <ac:picMk id="5122" creationId="{27350F8A-21C9-4F6B-BB67-00CA45427352}"/>
          </ac:picMkLst>
        </pc:picChg>
      </pc:sldChg>
      <pc:sldChg chg="addSp delSp modSp add mod">
        <pc:chgData name="Quiros Araya, Gustavo (T RDA FOA AES-US)" userId="87a2443b-d0c9-4518-9ebc-d799baa37986" providerId="ADAL" clId="{B3978012-9C64-4ECC-89E3-A2E0B6652A19}" dt="2021-03-12T13:25:55.035" v="1391" actId="20577"/>
        <pc:sldMkLst>
          <pc:docMk/>
          <pc:sldMk cId="3842640154" sldId="3200"/>
        </pc:sldMkLst>
        <pc:spChg chg="mod">
          <ac:chgData name="Quiros Araya, Gustavo (T RDA FOA AES-US)" userId="87a2443b-d0c9-4518-9ebc-d799baa37986" providerId="ADAL" clId="{B3978012-9C64-4ECC-89E3-A2E0B6652A19}" dt="2021-03-12T07:29:13.656" v="1323" actId="14100"/>
          <ac:spMkLst>
            <pc:docMk/>
            <pc:sldMk cId="3842640154" sldId="3200"/>
            <ac:spMk id="2" creationId="{F017E2AF-D5D9-4889-85EB-058895244DD9}"/>
          </ac:spMkLst>
        </pc:spChg>
        <pc:spChg chg="mod">
          <ac:chgData name="Quiros Araya, Gustavo (T RDA FOA AES-US)" userId="87a2443b-d0c9-4518-9ebc-d799baa37986" providerId="ADAL" clId="{B3978012-9C64-4ECC-89E3-A2E0B6652A19}" dt="2021-03-12T07:30:52.290" v="1337" actId="108"/>
          <ac:spMkLst>
            <pc:docMk/>
            <pc:sldMk cId="3842640154" sldId="3200"/>
            <ac:spMk id="15" creationId="{11558BE4-D551-4DF1-8C9A-45AB34EDAF72}"/>
          </ac:spMkLst>
        </pc:spChg>
        <pc:spChg chg="mod">
          <ac:chgData name="Quiros Araya, Gustavo (T RDA FOA AES-US)" userId="87a2443b-d0c9-4518-9ebc-d799baa37986" providerId="ADAL" clId="{B3978012-9C64-4ECC-89E3-A2E0B6652A19}" dt="2021-03-12T07:26:45.818" v="1134" actId="20577"/>
          <ac:spMkLst>
            <pc:docMk/>
            <pc:sldMk cId="3842640154" sldId="3200"/>
            <ac:spMk id="16" creationId="{A2232D69-6F56-430E-8594-208BEA6D0D95}"/>
          </ac:spMkLst>
        </pc:spChg>
        <pc:spChg chg="mod">
          <ac:chgData name="Quiros Araya, Gustavo (T RDA FOA AES-US)" userId="87a2443b-d0c9-4518-9ebc-d799baa37986" providerId="ADAL" clId="{B3978012-9C64-4ECC-89E3-A2E0B6652A19}" dt="2021-03-12T07:31:12.666" v="1339" actId="108"/>
          <ac:spMkLst>
            <pc:docMk/>
            <pc:sldMk cId="3842640154" sldId="3200"/>
            <ac:spMk id="18" creationId="{9024B9A4-91FE-471C-A0B6-106AD3D0FDF6}"/>
          </ac:spMkLst>
        </pc:spChg>
        <pc:spChg chg="mod">
          <ac:chgData name="Quiros Araya, Gustavo (T RDA FOA AES-US)" userId="87a2443b-d0c9-4518-9ebc-d799baa37986" providerId="ADAL" clId="{B3978012-9C64-4ECC-89E3-A2E0B6652A19}" dt="2021-03-12T07:23:43.020" v="1053" actId="20577"/>
          <ac:spMkLst>
            <pc:docMk/>
            <pc:sldMk cId="3842640154" sldId="3200"/>
            <ac:spMk id="19" creationId="{850B72CC-F32C-4128-8268-7FA61A02EBAB}"/>
          </ac:spMkLst>
        </pc:spChg>
        <pc:spChg chg="del">
          <ac:chgData name="Quiros Araya, Gustavo (T RDA FOA AES-US)" userId="87a2443b-d0c9-4518-9ebc-d799baa37986" providerId="ADAL" clId="{B3978012-9C64-4ECC-89E3-A2E0B6652A19}" dt="2021-03-12T07:26:29.508" v="1131" actId="478"/>
          <ac:spMkLst>
            <pc:docMk/>
            <pc:sldMk cId="3842640154" sldId="3200"/>
            <ac:spMk id="20" creationId="{F8BC4713-20BE-4322-8AD3-51D7251A2F0D}"/>
          </ac:spMkLst>
        </pc:spChg>
        <pc:spChg chg="mod">
          <ac:chgData name="Quiros Araya, Gustavo (T RDA FOA AES-US)" userId="87a2443b-d0c9-4518-9ebc-d799baa37986" providerId="ADAL" clId="{B3978012-9C64-4ECC-89E3-A2E0B6652A19}" dt="2021-03-12T07:22:58.274" v="1020" actId="20577"/>
          <ac:spMkLst>
            <pc:docMk/>
            <pc:sldMk cId="3842640154" sldId="3200"/>
            <ac:spMk id="21" creationId="{81AE2AA0-F26A-4339-AC10-BFEB834A88E8}"/>
          </ac:spMkLst>
        </pc:spChg>
        <pc:spChg chg="mod">
          <ac:chgData name="Quiros Araya, Gustavo (T RDA FOA AES-US)" userId="87a2443b-d0c9-4518-9ebc-d799baa37986" providerId="ADAL" clId="{B3978012-9C64-4ECC-89E3-A2E0B6652A19}" dt="2021-03-12T07:24:08.845" v="1074"/>
          <ac:spMkLst>
            <pc:docMk/>
            <pc:sldMk cId="3842640154" sldId="3200"/>
            <ac:spMk id="25" creationId="{E8439169-B699-45E5-827E-E45A1DAAB28C}"/>
          </ac:spMkLst>
        </pc:spChg>
        <pc:spChg chg="mod">
          <ac:chgData name="Quiros Araya, Gustavo (T RDA FOA AES-US)" userId="87a2443b-d0c9-4518-9ebc-d799baa37986" providerId="ADAL" clId="{B3978012-9C64-4ECC-89E3-A2E0B6652A19}" dt="2021-03-12T07:31:21.352" v="1340" actId="108"/>
          <ac:spMkLst>
            <pc:docMk/>
            <pc:sldMk cId="3842640154" sldId="3200"/>
            <ac:spMk id="29" creationId="{5CCE7EED-9946-4E2B-B169-1CD4C0F04181}"/>
          </ac:spMkLst>
        </pc:spChg>
        <pc:spChg chg="mod">
          <ac:chgData name="Quiros Araya, Gustavo (T RDA FOA AES-US)" userId="87a2443b-d0c9-4518-9ebc-d799baa37986" providerId="ADAL" clId="{B3978012-9C64-4ECC-89E3-A2E0B6652A19}" dt="2021-03-12T07:31:00.377" v="1338" actId="108"/>
          <ac:spMkLst>
            <pc:docMk/>
            <pc:sldMk cId="3842640154" sldId="3200"/>
            <ac:spMk id="31" creationId="{0B35027F-098B-47F8-9530-700C2420EFEF}"/>
          </ac:spMkLst>
        </pc:spChg>
        <pc:spChg chg="mod">
          <ac:chgData name="Quiros Araya, Gustavo (T RDA FOA AES-US)" userId="87a2443b-d0c9-4518-9ebc-d799baa37986" providerId="ADAL" clId="{B3978012-9C64-4ECC-89E3-A2E0B6652A19}" dt="2021-03-12T13:25:49.900" v="1390" actId="20577"/>
          <ac:spMkLst>
            <pc:docMk/>
            <pc:sldMk cId="3842640154" sldId="3200"/>
            <ac:spMk id="36" creationId="{182E70A5-DCFF-41DD-A1B8-775D3FCA26FA}"/>
          </ac:spMkLst>
        </pc:spChg>
        <pc:spChg chg="mod">
          <ac:chgData name="Quiros Araya, Gustavo (T RDA FOA AES-US)" userId="87a2443b-d0c9-4518-9ebc-d799baa37986" providerId="ADAL" clId="{B3978012-9C64-4ECC-89E3-A2E0B6652A19}" dt="2021-03-12T13:25:55.035" v="1391" actId="20577"/>
          <ac:spMkLst>
            <pc:docMk/>
            <pc:sldMk cId="3842640154" sldId="3200"/>
            <ac:spMk id="38" creationId="{94050B0A-FCEC-4B59-BFF6-83B5B6C65A66}"/>
          </ac:spMkLst>
        </pc:spChg>
        <pc:spChg chg="add mod">
          <ac:chgData name="Quiros Araya, Gustavo (T RDA FOA AES-US)" userId="87a2443b-d0c9-4518-9ebc-d799baa37986" providerId="ADAL" clId="{B3978012-9C64-4ECC-89E3-A2E0B6652A19}" dt="2021-03-12T07:25:09.927" v="1089" actId="1076"/>
          <ac:spMkLst>
            <pc:docMk/>
            <pc:sldMk cId="3842640154" sldId="3200"/>
            <ac:spMk id="84" creationId="{A6B3CC44-ABC9-4174-BD6B-BAF1C6BE7742}"/>
          </ac:spMkLst>
        </pc:spChg>
        <pc:spChg chg="add del mod">
          <ac:chgData name="Quiros Araya, Gustavo (T RDA FOA AES-US)" userId="87a2443b-d0c9-4518-9ebc-d799baa37986" providerId="ADAL" clId="{B3978012-9C64-4ECC-89E3-A2E0B6652A19}" dt="2021-03-12T07:24:51.265" v="1084" actId="478"/>
          <ac:spMkLst>
            <pc:docMk/>
            <pc:sldMk cId="3842640154" sldId="3200"/>
            <ac:spMk id="85" creationId="{4B217B48-C3DA-4F4E-93E6-FF9E1EF4BBEA}"/>
          </ac:spMkLst>
        </pc:spChg>
        <pc:spChg chg="mod">
          <ac:chgData name="Quiros Araya, Gustavo (T RDA FOA AES-US)" userId="87a2443b-d0c9-4518-9ebc-d799baa37986" providerId="ADAL" clId="{B3978012-9C64-4ECC-89E3-A2E0B6652A19}" dt="2021-03-12T07:24:45.611" v="1080"/>
          <ac:spMkLst>
            <pc:docMk/>
            <pc:sldMk cId="3842640154" sldId="3200"/>
            <ac:spMk id="87" creationId="{D4E46DA1-9BA1-4C9F-B7B7-A7CA21D5A0BD}"/>
          </ac:spMkLst>
        </pc:spChg>
        <pc:spChg chg="mod">
          <ac:chgData name="Quiros Araya, Gustavo (T RDA FOA AES-US)" userId="87a2443b-d0c9-4518-9ebc-d799baa37986" providerId="ADAL" clId="{B3978012-9C64-4ECC-89E3-A2E0B6652A19}" dt="2021-03-12T07:24:45.611" v="1080"/>
          <ac:spMkLst>
            <pc:docMk/>
            <pc:sldMk cId="3842640154" sldId="3200"/>
            <ac:spMk id="88" creationId="{F05FD3C5-4CB2-42C7-AA93-093EEF346D79}"/>
          </ac:spMkLst>
        </pc:spChg>
        <pc:spChg chg="del">
          <ac:chgData name="Quiros Araya, Gustavo (T RDA FOA AES-US)" userId="87a2443b-d0c9-4518-9ebc-d799baa37986" providerId="ADAL" clId="{B3978012-9C64-4ECC-89E3-A2E0B6652A19}" dt="2021-03-12T07:34:15.071" v="1358" actId="478"/>
          <ac:spMkLst>
            <pc:docMk/>
            <pc:sldMk cId="3842640154" sldId="3200"/>
            <ac:spMk id="246" creationId="{D67821E6-D2DD-4317-A5F4-D9B7F4A9CA94}"/>
          </ac:spMkLst>
        </pc:spChg>
        <pc:spChg chg="del">
          <ac:chgData name="Quiros Araya, Gustavo (T RDA FOA AES-US)" userId="87a2443b-d0c9-4518-9ebc-d799baa37986" providerId="ADAL" clId="{B3978012-9C64-4ECC-89E3-A2E0B6652A19}" dt="2021-03-12T07:34:15.959" v="1359" actId="478"/>
          <ac:spMkLst>
            <pc:docMk/>
            <pc:sldMk cId="3842640154" sldId="3200"/>
            <ac:spMk id="251" creationId="{77DA6744-B236-48F8-9950-BE6766E1A723}"/>
          </ac:spMkLst>
        </pc:spChg>
        <pc:spChg chg="del mod">
          <ac:chgData name="Quiros Araya, Gustavo (T RDA FOA AES-US)" userId="87a2443b-d0c9-4518-9ebc-d799baa37986" providerId="ADAL" clId="{B3978012-9C64-4ECC-89E3-A2E0B6652A19}" dt="2021-03-12T07:24:50.072" v="1083" actId="478"/>
          <ac:spMkLst>
            <pc:docMk/>
            <pc:sldMk cId="3842640154" sldId="3200"/>
            <ac:spMk id="252" creationId="{282932EE-F866-4775-ADF6-21859141AA4E}"/>
          </ac:spMkLst>
        </pc:spChg>
        <pc:spChg chg="del">
          <ac:chgData name="Quiros Araya, Gustavo (T RDA FOA AES-US)" userId="87a2443b-d0c9-4518-9ebc-d799baa37986" providerId="ADAL" clId="{B3978012-9C64-4ECC-89E3-A2E0B6652A19}" dt="2021-03-12T07:25:14.036" v="1091" actId="478"/>
          <ac:spMkLst>
            <pc:docMk/>
            <pc:sldMk cId="3842640154" sldId="3200"/>
            <ac:spMk id="253" creationId="{2CB4F9CF-F00D-4744-B35C-CBE65EEE3A94}"/>
          </ac:spMkLst>
        </pc:spChg>
        <pc:spChg chg="del">
          <ac:chgData name="Quiros Araya, Gustavo (T RDA FOA AES-US)" userId="87a2443b-d0c9-4518-9ebc-d799baa37986" providerId="ADAL" clId="{B3978012-9C64-4ECC-89E3-A2E0B6652A19}" dt="2021-03-12T07:34:14.157" v="1357" actId="478"/>
          <ac:spMkLst>
            <pc:docMk/>
            <pc:sldMk cId="3842640154" sldId="3200"/>
            <ac:spMk id="254" creationId="{85F15521-22DD-4CF7-AC96-3C0372F5F313}"/>
          </ac:spMkLst>
        </pc:spChg>
        <pc:spChg chg="del">
          <ac:chgData name="Quiros Araya, Gustavo (T RDA FOA AES-US)" userId="87a2443b-d0c9-4518-9ebc-d799baa37986" providerId="ADAL" clId="{B3978012-9C64-4ECC-89E3-A2E0B6652A19}" dt="2021-03-12T07:34:11.047" v="1355" actId="478"/>
          <ac:spMkLst>
            <pc:docMk/>
            <pc:sldMk cId="3842640154" sldId="3200"/>
            <ac:spMk id="255" creationId="{0C75472A-6033-4CD6-BE87-3F9792FBB76F}"/>
          </ac:spMkLst>
        </pc:spChg>
        <pc:spChg chg="del">
          <ac:chgData name="Quiros Araya, Gustavo (T RDA FOA AES-US)" userId="87a2443b-d0c9-4518-9ebc-d799baa37986" providerId="ADAL" clId="{B3978012-9C64-4ECC-89E3-A2E0B6652A19}" dt="2021-03-12T07:34:12.161" v="1356" actId="478"/>
          <ac:spMkLst>
            <pc:docMk/>
            <pc:sldMk cId="3842640154" sldId="3200"/>
            <ac:spMk id="256" creationId="{990356C5-71BB-466A-AB7D-0239F66408F2}"/>
          </ac:spMkLst>
        </pc:spChg>
        <pc:spChg chg="del">
          <ac:chgData name="Quiros Araya, Gustavo (T RDA FOA AES-US)" userId="87a2443b-d0c9-4518-9ebc-d799baa37986" providerId="ADAL" clId="{B3978012-9C64-4ECC-89E3-A2E0B6652A19}" dt="2021-03-12T07:25:12.586" v="1090" actId="478"/>
          <ac:spMkLst>
            <pc:docMk/>
            <pc:sldMk cId="3842640154" sldId="3200"/>
            <ac:spMk id="257" creationId="{D81402BD-4268-45CF-98ED-A4353E543A94}"/>
          </ac:spMkLst>
        </pc:spChg>
        <pc:spChg chg="mod">
          <ac:chgData name="Quiros Araya, Gustavo (T RDA FOA AES-US)" userId="87a2443b-d0c9-4518-9ebc-d799baa37986" providerId="ADAL" clId="{B3978012-9C64-4ECC-89E3-A2E0B6652A19}" dt="2021-03-12T07:27:24.987" v="1147" actId="1076"/>
          <ac:spMkLst>
            <pc:docMk/>
            <pc:sldMk cId="3842640154" sldId="3200"/>
            <ac:spMk id="266" creationId="{CAA68727-1A82-494A-908F-5D08B44EAC6C}"/>
          </ac:spMkLst>
        </pc:spChg>
        <pc:spChg chg="del">
          <ac:chgData name="Quiros Araya, Gustavo (T RDA FOA AES-US)" userId="87a2443b-d0c9-4518-9ebc-d799baa37986" providerId="ADAL" clId="{B3978012-9C64-4ECC-89E3-A2E0B6652A19}" dt="2021-03-12T07:25:16.069" v="1092" actId="478"/>
          <ac:spMkLst>
            <pc:docMk/>
            <pc:sldMk cId="3842640154" sldId="3200"/>
            <ac:spMk id="294" creationId="{EBFE7485-BF18-45FC-869E-35B007F0A0E2}"/>
          </ac:spMkLst>
        </pc:spChg>
        <pc:grpChg chg="add mod">
          <ac:chgData name="Quiros Araya, Gustavo (T RDA FOA AES-US)" userId="87a2443b-d0c9-4518-9ebc-d799baa37986" providerId="ADAL" clId="{B3978012-9C64-4ECC-89E3-A2E0B6652A19}" dt="2021-03-12T07:24:55.340" v="1085" actId="1076"/>
          <ac:grpSpMkLst>
            <pc:docMk/>
            <pc:sldMk cId="3842640154" sldId="3200"/>
            <ac:grpSpMk id="86" creationId="{0748CB8F-9756-47C6-BAF0-BDEE4F7AE9A4}"/>
          </ac:grpSpMkLst>
        </pc:grpChg>
        <pc:grpChg chg="mod">
          <ac:chgData name="Quiros Araya, Gustavo (T RDA FOA AES-US)" userId="87a2443b-d0c9-4518-9ebc-d799baa37986" providerId="ADAL" clId="{B3978012-9C64-4ECC-89E3-A2E0B6652A19}" dt="2021-03-12T07:25:31.121" v="1093" actId="1076"/>
          <ac:grpSpMkLst>
            <pc:docMk/>
            <pc:sldMk cId="3842640154" sldId="3200"/>
            <ac:grpSpMk id="180" creationId="{EBDCA59F-5E02-48A6-B28E-CEDE558A7313}"/>
          </ac:grpSpMkLst>
        </pc:grpChg>
        <pc:grpChg chg="del">
          <ac:chgData name="Quiros Araya, Gustavo (T RDA FOA AES-US)" userId="87a2443b-d0c9-4518-9ebc-d799baa37986" providerId="ADAL" clId="{B3978012-9C64-4ECC-89E3-A2E0B6652A19}" dt="2021-03-12T07:26:30.551" v="1132" actId="478"/>
          <ac:grpSpMkLst>
            <pc:docMk/>
            <pc:sldMk cId="3842640154" sldId="3200"/>
            <ac:grpSpMk id="209" creationId="{9F751AC0-F363-47B5-8560-E95A285DE8AF}"/>
          </ac:grpSpMkLst>
        </pc:grpChg>
        <pc:picChg chg="mod">
          <ac:chgData name="Quiros Araya, Gustavo (T RDA FOA AES-US)" userId="87a2443b-d0c9-4518-9ebc-d799baa37986" providerId="ADAL" clId="{B3978012-9C64-4ECC-89E3-A2E0B6652A19}" dt="2021-03-12T07:24:48.095" v="1082" actId="1076"/>
          <ac:picMkLst>
            <pc:docMk/>
            <pc:sldMk cId="3842640154" sldId="3200"/>
            <ac:picMk id="113" creationId="{D031D904-7D3D-4CE3-98F9-630A66229F0E}"/>
          </ac:picMkLst>
        </pc:picChg>
        <pc:cxnChg chg="add mod">
          <ac:chgData name="Quiros Araya, Gustavo (T RDA FOA AES-US)" userId="87a2443b-d0c9-4518-9ebc-d799baa37986" providerId="ADAL" clId="{B3978012-9C64-4ECC-89E3-A2E0B6652A19}" dt="2021-03-12T07:25:09.927" v="1089" actId="1076"/>
          <ac:cxnSpMkLst>
            <pc:docMk/>
            <pc:sldMk cId="3842640154" sldId="3200"/>
            <ac:cxnSpMk id="89" creationId="{E5CDA497-6B10-40CA-87AA-5BAA3C2C0862}"/>
          </ac:cxnSpMkLst>
        </pc:cxnChg>
        <pc:cxnChg chg="mod">
          <ac:chgData name="Quiros Araya, Gustavo (T RDA FOA AES-US)" userId="87a2443b-d0c9-4518-9ebc-d799baa37986" providerId="ADAL" clId="{B3978012-9C64-4ECC-89E3-A2E0B6652A19}" dt="2021-03-12T07:25:34.961" v="1094" actId="14100"/>
          <ac:cxnSpMkLst>
            <pc:docMk/>
            <pc:sldMk cId="3842640154" sldId="3200"/>
            <ac:cxnSpMk id="183" creationId="{09530DFA-7F61-42ED-97D5-CA8ECFAAC385}"/>
          </ac:cxnSpMkLst>
        </pc:cxnChg>
        <pc:cxnChg chg="del mod">
          <ac:chgData name="Quiros Araya, Gustavo (T RDA FOA AES-US)" userId="87a2443b-d0c9-4518-9ebc-d799baa37986" providerId="ADAL" clId="{B3978012-9C64-4ECC-89E3-A2E0B6652A19}" dt="2021-03-12T07:26:31.240" v="1133" actId="478"/>
          <ac:cxnSpMkLst>
            <pc:docMk/>
            <pc:sldMk cId="3842640154" sldId="3200"/>
            <ac:cxnSpMk id="213" creationId="{008AF9F0-6DD6-44B1-A705-7AFA0B1E20FB}"/>
          </ac:cxnSpMkLst>
        </pc:cxnChg>
      </pc:sldChg>
    </pc:docChg>
  </pc:docChgLst>
  <pc:docChgLst>
    <pc:chgData name="Quiros Araya, Gustavo (T RDA FOA AES-US)" userId="87a2443b-d0c9-4518-9ebc-d799baa37986" providerId="ADAL" clId="{8890887C-F27B-4EA1-B41C-91E3647CEAF0}"/>
    <pc:docChg chg="undo custSel addSld delSld modSld sldOrd">
      <pc:chgData name="Quiros Araya, Gustavo (T RDA FOA AES-US)" userId="87a2443b-d0c9-4518-9ebc-d799baa37986" providerId="ADAL" clId="{8890887C-F27B-4EA1-B41C-91E3647CEAF0}" dt="2021-02-23T05:16:11.573" v="3299" actId="1592"/>
      <pc:docMkLst>
        <pc:docMk/>
      </pc:docMkLst>
      <pc:sldChg chg="addSp delSp modSp mod">
        <pc:chgData name="Quiros Araya, Gustavo (T RDA FOA AES-US)" userId="87a2443b-d0c9-4518-9ebc-d799baa37986" providerId="ADAL" clId="{8890887C-F27B-4EA1-B41C-91E3647CEAF0}" dt="2021-02-23T03:55:30.024" v="3150" actId="478"/>
        <pc:sldMkLst>
          <pc:docMk/>
          <pc:sldMk cId="3044083358" sldId="268"/>
        </pc:sldMkLst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7" creationId="{0158ACF8-008A-433A-9939-9F35E8358420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8" creationId="{6E5CABF2-1631-4894-9528-29A0E1A10329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10" creationId="{A8C31E5B-C96D-42A9-80F0-FB03DD824B66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11" creationId="{CAE719AA-6383-432D-8358-F8378F943771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14" creationId="{170673DA-4B48-4672-AE5C-8514346A9829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15" creationId="{1D5E843F-8F61-4060-A13B-EEB4446E9EE2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17" creationId="{85E8A571-54A5-4B0C-9346-EB33500FE178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18" creationId="{5B5D8F4F-26CF-439B-8AFC-8F38F4DAFBC2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20" creationId="{A0A729EC-1891-49FE-92DE-70C75459A06A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21" creationId="{AA99AA87-FA3C-40A4-947A-9E0D4D668495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23" creationId="{D67B7D9C-2516-4C6E-81A8-F5180D818292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24" creationId="{8EEC6928-9B3D-49B4-B5F4-3D647DEF6B8A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26" creationId="{4BB7A5EB-01C0-4DCD-9DC7-BC7B771E220A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27" creationId="{AAE4A5B5-545D-4F36-A317-7C3657048054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29" creationId="{D33C1B75-5CCD-4170-9614-1145FBDC830E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30" creationId="{F95928A1-DC8A-44FE-9591-5E2AB40715E3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33" creationId="{B2E42292-D88F-4DB9-A975-F1D68777A960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34" creationId="{D5B57C86-9CA2-4115-956A-90061C8C971A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37" creationId="{19F4F26A-F737-4BD8-99F2-A73313158EF6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38" creationId="{DC95CAA1-E3D6-444F-876A-EEEF1B20957E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41" creationId="{A1E127B2-266F-4BB4-ABCE-F094E8F0909D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42" creationId="{7BDCB895-A458-44ED-882F-F87F5E0FB6C6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45" creationId="{A9BF264B-D937-4A26-8099-4C2B2FBA655C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46" creationId="{1BD589D8-0A08-4052-9488-53A5AFB3A5F3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49" creationId="{5E736994-73F9-4E03-A8A7-92C167FE450B}"/>
          </ac:spMkLst>
        </pc:spChg>
        <pc:spChg chg="mod">
          <ac:chgData name="Quiros Araya, Gustavo (T RDA FOA AES-US)" userId="87a2443b-d0c9-4518-9ebc-d799baa37986" providerId="ADAL" clId="{8890887C-F27B-4EA1-B41C-91E3647CEAF0}" dt="2021-02-23T03:49:15.921" v="3129"/>
          <ac:spMkLst>
            <pc:docMk/>
            <pc:sldMk cId="3044083358" sldId="268"/>
            <ac:spMk id="50" creationId="{69B23C91-5ECD-4CF8-90DC-F4173F39F791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51" creationId="{34E8EC89-6C81-4C4C-A1B1-C9E9FB5F6574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52" creationId="{F4B33401-674C-4EB7-B7D2-3CED49D6FB8B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53" creationId="{6FF5DC42-2BF2-4401-8C60-CCE82FDC7998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54" creationId="{3F1067CD-D056-42B7-B753-585CD9A97553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55" creationId="{A0A76160-83F6-466F-8A6C-4E61FAA5CD9B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56" creationId="{C18BBD09-1ABF-4150-A241-29C37BEAF9B1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57" creationId="{B54B55EE-E445-473F-9F68-19EA9797D848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58" creationId="{B20E2A9E-B566-4097-88F3-0C9987F15806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9:36.002" v="3135" actId="1076"/>
          <ac:spMkLst>
            <pc:docMk/>
            <pc:sldMk cId="3044083358" sldId="268"/>
            <ac:spMk id="59" creationId="{21290EFF-530D-4C5E-9DDB-74BD7A1BC68D}"/>
          </ac:spMkLst>
        </pc:s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9" creationId="{796945AA-1B42-487D-8011-36FD254CECD2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13" creationId="{C28FFE2C-1ADD-46A6-9AE2-9BCB4590DEAD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16" creationId="{D90EB4F6-EFAC-406B-A35A-70C5A9F54190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19" creationId="{9F840516-AC68-4227-B709-72084EF49ACE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22" creationId="{3EAE4DF5-9434-4048-85A0-62A94D91C350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25" creationId="{16915D2D-A9BB-42AA-9E47-FD79B7982957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28" creationId="{5716DB3A-B425-43F8-94A0-4A71AE76E4F8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32" creationId="{CBFD415C-FF56-433D-9F1B-B76AD105A358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36" creationId="{3D651358-AB16-40D4-9F24-49EA588E26D1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40" creationId="{66259957-ED8C-4E50-B9FD-27405A8A56DD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44" creationId="{0955421C-7932-416C-B570-B1790085713E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9:36.002" v="3135" actId="1076"/>
          <ac:grpSpMkLst>
            <pc:docMk/>
            <pc:sldMk cId="3044083358" sldId="268"/>
            <ac:grpSpMk id="48" creationId="{27D8021B-C02B-4361-A96E-7FE641F565A3}"/>
          </ac:grpSpMkLst>
        </pc:grpChg>
        <pc:picChg chg="add del mod">
          <ac:chgData name="Quiros Araya, Gustavo (T RDA FOA AES-US)" userId="87a2443b-d0c9-4518-9ebc-d799baa37986" providerId="ADAL" clId="{8890887C-F27B-4EA1-B41C-91E3647CEAF0}" dt="2021-02-23T03:55:30.024" v="3150" actId="478"/>
          <ac:picMkLst>
            <pc:docMk/>
            <pc:sldMk cId="3044083358" sldId="268"/>
            <ac:picMk id="6" creationId="{0BD5E1B5-845A-4BEE-B410-E0FA611B1E76}"/>
          </ac:picMkLst>
        </pc:picChg>
        <pc:cxnChg chg="add del mod">
          <ac:chgData name="Quiros Araya, Gustavo (T RDA FOA AES-US)" userId="87a2443b-d0c9-4518-9ebc-d799baa37986" providerId="ADAL" clId="{8890887C-F27B-4EA1-B41C-91E3647CEAF0}" dt="2021-02-23T03:49:24.284" v="3133" actId="478"/>
          <ac:cxnSpMkLst>
            <pc:docMk/>
            <pc:sldMk cId="3044083358" sldId="268"/>
            <ac:cxnSpMk id="31" creationId="{8792CF1E-A1FD-41CE-B2AB-025BFA772076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49:25.778" v="3134" actId="478"/>
          <ac:cxnSpMkLst>
            <pc:docMk/>
            <pc:sldMk cId="3044083358" sldId="268"/>
            <ac:cxnSpMk id="35" creationId="{172093F7-7F74-450D-BC3C-09F18BCF40CE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49:22.716" v="3132" actId="478"/>
          <ac:cxnSpMkLst>
            <pc:docMk/>
            <pc:sldMk cId="3044083358" sldId="268"/>
            <ac:cxnSpMk id="39" creationId="{F85CC97A-C5CD-4471-9ECC-72976A157705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49:20.992" v="3131" actId="478"/>
          <ac:cxnSpMkLst>
            <pc:docMk/>
            <pc:sldMk cId="3044083358" sldId="268"/>
            <ac:cxnSpMk id="43" creationId="{953D72C7-B376-4DDB-95F4-7D3D8A57BBD1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49:19.515" v="3130" actId="478"/>
          <ac:cxnSpMkLst>
            <pc:docMk/>
            <pc:sldMk cId="3044083358" sldId="268"/>
            <ac:cxnSpMk id="47" creationId="{9F02845A-E752-4CFB-8698-4D0D74EC9AAD}"/>
          </ac:cxnSpMkLst>
        </pc:cxnChg>
      </pc:sldChg>
      <pc:sldChg chg="addCm delCm">
        <pc:chgData name="Quiros Araya, Gustavo (T RDA FOA AES-US)" userId="87a2443b-d0c9-4518-9ebc-d799baa37986" providerId="ADAL" clId="{8890887C-F27B-4EA1-B41C-91E3647CEAF0}" dt="2021-02-23T05:16:03.275" v="3289" actId="1589"/>
        <pc:sldMkLst>
          <pc:docMk/>
          <pc:sldMk cId="255591453" sldId="340"/>
        </pc:sldMkLst>
      </pc:sldChg>
      <pc:sldChg chg="modSp mod modShow delCm">
        <pc:chgData name="Quiros Araya, Gustavo (T RDA FOA AES-US)" userId="87a2443b-d0c9-4518-9ebc-d799baa37986" providerId="ADAL" clId="{8890887C-F27B-4EA1-B41C-91E3647CEAF0}" dt="2021-02-23T05:16:11.564" v="3290" actId="1592"/>
        <pc:sldMkLst>
          <pc:docMk/>
          <pc:sldMk cId="3061920705" sldId="341"/>
        </pc:sldMkLst>
        <pc:spChg chg="mod">
          <ac:chgData name="Quiros Araya, Gustavo (T RDA FOA AES-US)" userId="87a2443b-d0c9-4518-9ebc-d799baa37986" providerId="ADAL" clId="{8890887C-F27B-4EA1-B41C-91E3647CEAF0}" dt="2021-02-22T14:39:54.215" v="331" actId="113"/>
          <ac:spMkLst>
            <pc:docMk/>
            <pc:sldMk cId="3061920705" sldId="341"/>
            <ac:spMk id="11" creationId="{F6B6AF98-2DB1-4FBB-B759-6D46D578849A}"/>
          </ac:spMkLst>
        </pc:spChg>
      </pc:sldChg>
      <pc:sldChg chg="modSp mod">
        <pc:chgData name="Quiros Araya, Gustavo (T RDA FOA AES-US)" userId="87a2443b-d0c9-4518-9ebc-d799baa37986" providerId="ADAL" clId="{8890887C-F27B-4EA1-B41C-91E3647CEAF0}" dt="2021-02-22T18:07:23.686" v="737" actId="5793"/>
        <pc:sldMkLst>
          <pc:docMk/>
          <pc:sldMk cId="2257611418" sldId="342"/>
        </pc:sldMkLst>
        <pc:spChg chg="mod">
          <ac:chgData name="Quiros Araya, Gustavo (T RDA FOA AES-US)" userId="87a2443b-d0c9-4518-9ebc-d799baa37986" providerId="ADAL" clId="{8890887C-F27B-4EA1-B41C-91E3647CEAF0}" dt="2021-02-22T18:07:23.686" v="737" actId="5793"/>
          <ac:spMkLst>
            <pc:docMk/>
            <pc:sldMk cId="2257611418" sldId="342"/>
            <ac:spMk id="26" creationId="{387464AF-593C-45BC-9E5A-37C38581EE2D}"/>
          </ac:spMkLst>
        </pc:spChg>
      </pc:sldChg>
      <pc:sldChg chg="addSp delSp modSp del mod ord modShow modCm">
        <pc:chgData name="Quiros Araya, Gustavo (T RDA FOA AES-US)" userId="87a2443b-d0c9-4518-9ebc-d799baa37986" providerId="ADAL" clId="{8890887C-F27B-4EA1-B41C-91E3647CEAF0}" dt="2021-02-23T05:14:32.227" v="3283" actId="47"/>
        <pc:sldMkLst>
          <pc:docMk/>
          <pc:sldMk cId="1540080344" sldId="343"/>
        </pc:sldMkLst>
        <pc:spChg chg="mod">
          <ac:chgData name="Quiros Araya, Gustavo (T RDA FOA AES-US)" userId="87a2443b-d0c9-4518-9ebc-d799baa37986" providerId="ADAL" clId="{8890887C-F27B-4EA1-B41C-91E3647CEAF0}" dt="2021-02-22T14:48:15.759" v="390" actId="20577"/>
          <ac:spMkLst>
            <pc:docMk/>
            <pc:sldMk cId="1540080344" sldId="343"/>
            <ac:spMk id="2" creationId="{F017E2AF-D5D9-4889-85EB-058895244DD9}"/>
          </ac:spMkLst>
        </pc:spChg>
        <pc:spChg chg="mod">
          <ac:chgData name="Quiros Araya, Gustavo (T RDA FOA AES-US)" userId="87a2443b-d0c9-4518-9ebc-d799baa37986" providerId="ADAL" clId="{8890887C-F27B-4EA1-B41C-91E3647CEAF0}" dt="2021-02-22T14:25:03.616" v="146" actId="1076"/>
          <ac:spMkLst>
            <pc:docMk/>
            <pc:sldMk cId="1540080344" sldId="343"/>
            <ac:spMk id="3" creationId="{95C387D4-7E7D-4669-8FE7-36AAE4110A2B}"/>
          </ac:spMkLst>
        </pc:spChg>
        <pc:spChg chg="mod">
          <ac:chgData name="Quiros Araya, Gustavo (T RDA FOA AES-US)" userId="87a2443b-d0c9-4518-9ebc-d799baa37986" providerId="ADAL" clId="{8890887C-F27B-4EA1-B41C-91E3647CEAF0}" dt="2021-02-22T14:52:59.214" v="564" actId="1035"/>
          <ac:spMkLst>
            <pc:docMk/>
            <pc:sldMk cId="1540080344" sldId="343"/>
            <ac:spMk id="5" creationId="{815798DF-4FC6-42B2-A852-017E1511FA77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15" creationId="{11558BE4-D551-4DF1-8C9A-45AB34EDAF72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16" creationId="{A2232D69-6F56-430E-8594-208BEA6D0D95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17" creationId="{57DD1D51-1EA8-44D5-9DD8-0268CCB08F56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18" creationId="{9024B9A4-91FE-471C-A0B6-106AD3D0FDF6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19" creationId="{850B72CC-F32C-4128-8268-7FA61A02EBAB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0" creationId="{F8BC4713-20BE-4322-8AD3-51D7251A2F0D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1" creationId="{81AE2AA0-F26A-4339-AC10-BFEB834A88E8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2" creationId="{8BD366B9-3449-4997-B249-446F910AFA8D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3" creationId="{67A843C8-FB40-412F-AA08-08E5A17D5514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4" creationId="{7A3AC743-44AB-4ED8-8DD0-5D8F64FC3643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5" creationId="{E8439169-B699-45E5-827E-E45A1DAAB28C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6" creationId="{4882313A-1426-433A-9872-BF778FFF055E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7" creationId="{D4F1D2C3-1DED-4E32-9D11-24FC2F55B26D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8" creationId="{E91307D2-A69E-42CA-B957-F74F18334E29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29" creationId="{5CCE7EED-9946-4E2B-B169-1CD4C0F04181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30" creationId="{6F13CEB7-D271-4253-88CB-A35014EA727C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31" creationId="{0B35027F-098B-47F8-9530-700C2420EFEF}"/>
          </ac:spMkLst>
        </pc:spChg>
        <pc:spChg chg="mod ord">
          <ac:chgData name="Quiros Araya, Gustavo (T RDA FOA AES-US)" userId="87a2443b-d0c9-4518-9ebc-d799baa37986" providerId="ADAL" clId="{8890887C-F27B-4EA1-B41C-91E3647CEAF0}" dt="2021-02-22T20:13:25.115" v="1225" actId="1036"/>
          <ac:spMkLst>
            <pc:docMk/>
            <pc:sldMk cId="1540080344" sldId="343"/>
            <ac:spMk id="32" creationId="{E8EFB443-9C22-4CC4-84AF-FE30C20DA701}"/>
          </ac:spMkLst>
        </pc:spChg>
        <pc:spChg chg="add del mod">
          <ac:chgData name="Quiros Araya, Gustavo (T RDA FOA AES-US)" userId="87a2443b-d0c9-4518-9ebc-d799baa37986" providerId="ADAL" clId="{8890887C-F27B-4EA1-B41C-91E3647CEAF0}" dt="2021-02-22T20:11:42.756" v="1188" actId="478"/>
          <ac:spMkLst>
            <pc:docMk/>
            <pc:sldMk cId="1540080344" sldId="343"/>
            <ac:spMk id="33" creationId="{1553378D-B337-4958-B043-FE0572BA9C8E}"/>
          </ac:spMkLst>
        </pc:spChg>
        <pc:spChg chg="mod">
          <ac:chgData name="Quiros Araya, Gustavo (T RDA FOA AES-US)" userId="87a2443b-d0c9-4518-9ebc-d799baa37986" providerId="ADAL" clId="{8890887C-F27B-4EA1-B41C-91E3647CEAF0}" dt="2021-02-22T14:52:59.214" v="564" actId="1035"/>
          <ac:spMkLst>
            <pc:docMk/>
            <pc:sldMk cId="1540080344" sldId="343"/>
            <ac:spMk id="34" creationId="{4E4B93AE-E3FA-4D84-B9AA-1C6327320283}"/>
          </ac:spMkLst>
        </pc:spChg>
        <pc:spChg chg="mod">
          <ac:chgData name="Quiros Araya, Gustavo (T RDA FOA AES-US)" userId="87a2443b-d0c9-4518-9ebc-d799baa37986" providerId="ADAL" clId="{8890887C-F27B-4EA1-B41C-91E3647CEAF0}" dt="2021-02-22T16:17:46.699" v="725" actId="20577"/>
          <ac:spMkLst>
            <pc:docMk/>
            <pc:sldMk cId="1540080344" sldId="343"/>
            <ac:spMk id="35" creationId="{135329E5-52A6-4157-9D38-59E66ED57095}"/>
          </ac:spMkLst>
        </pc:spChg>
        <pc:spChg chg="mod">
          <ac:chgData name="Quiros Araya, Gustavo (T RDA FOA AES-US)" userId="87a2443b-d0c9-4518-9ebc-d799baa37986" providerId="ADAL" clId="{8890887C-F27B-4EA1-B41C-91E3647CEAF0}" dt="2021-02-22T14:52:59.214" v="564" actId="1035"/>
          <ac:spMkLst>
            <pc:docMk/>
            <pc:sldMk cId="1540080344" sldId="343"/>
            <ac:spMk id="36" creationId="{182E70A5-DCFF-41DD-A1B8-775D3FCA26FA}"/>
          </ac:spMkLst>
        </pc:spChg>
        <pc:spChg chg="mod">
          <ac:chgData name="Quiros Araya, Gustavo (T RDA FOA AES-US)" userId="87a2443b-d0c9-4518-9ebc-d799baa37986" providerId="ADAL" clId="{8890887C-F27B-4EA1-B41C-91E3647CEAF0}" dt="2021-02-22T14:52:59.214" v="564" actId="1035"/>
          <ac:spMkLst>
            <pc:docMk/>
            <pc:sldMk cId="1540080344" sldId="343"/>
            <ac:spMk id="37" creationId="{01C34A9F-0520-489E-9717-7870DF712AC3}"/>
          </ac:spMkLst>
        </pc:spChg>
        <pc:spChg chg="mod">
          <ac:chgData name="Quiros Araya, Gustavo (T RDA FOA AES-US)" userId="87a2443b-d0c9-4518-9ebc-d799baa37986" providerId="ADAL" clId="{8890887C-F27B-4EA1-B41C-91E3647CEAF0}" dt="2021-02-22T14:52:59.214" v="564" actId="1035"/>
          <ac:spMkLst>
            <pc:docMk/>
            <pc:sldMk cId="1540080344" sldId="343"/>
            <ac:spMk id="38" creationId="{94050B0A-FCEC-4B59-BFF6-83B5B6C65A66}"/>
          </ac:spMkLst>
        </pc:spChg>
        <pc:spChg chg="del">
          <ac:chgData name="Quiros Araya, Gustavo (T RDA FOA AES-US)" userId="87a2443b-d0c9-4518-9ebc-d799baa37986" providerId="ADAL" clId="{8890887C-F27B-4EA1-B41C-91E3647CEAF0}" dt="2021-02-22T14:28:04.772" v="210" actId="478"/>
          <ac:spMkLst>
            <pc:docMk/>
            <pc:sldMk cId="1540080344" sldId="343"/>
            <ac:spMk id="39" creationId="{FE6BCD51-5E61-476F-962F-C90FF8A3CF8C}"/>
          </ac:spMkLst>
        </pc:spChg>
        <pc:spChg chg="del">
          <ac:chgData name="Quiros Araya, Gustavo (T RDA FOA AES-US)" userId="87a2443b-d0c9-4518-9ebc-d799baa37986" providerId="ADAL" clId="{8890887C-F27B-4EA1-B41C-91E3647CEAF0}" dt="2021-02-22T14:28:06.206" v="211" actId="478"/>
          <ac:spMkLst>
            <pc:docMk/>
            <pc:sldMk cId="1540080344" sldId="343"/>
            <ac:spMk id="40" creationId="{AE5FB030-6B81-4C36-BEA9-288EDCBD3A93}"/>
          </ac:spMkLst>
        </pc:spChg>
        <pc:spChg chg="add del mod">
          <ac:chgData name="Quiros Araya, Gustavo (T RDA FOA AES-US)" userId="87a2443b-d0c9-4518-9ebc-d799baa37986" providerId="ADAL" clId="{8890887C-F27B-4EA1-B41C-91E3647CEAF0}" dt="2021-02-22T14:52:10.159" v="493" actId="478"/>
          <ac:spMkLst>
            <pc:docMk/>
            <pc:sldMk cId="1540080344" sldId="343"/>
            <ac:spMk id="41" creationId="{846EA01A-8765-4932-B090-F8E15BDB0D28}"/>
          </ac:spMkLst>
        </pc:spChg>
        <pc:spChg chg="add del mod">
          <ac:chgData name="Quiros Araya, Gustavo (T RDA FOA AES-US)" userId="87a2443b-d0c9-4518-9ebc-d799baa37986" providerId="ADAL" clId="{8890887C-F27B-4EA1-B41C-91E3647CEAF0}" dt="2021-02-22T14:52:10.159" v="493" actId="478"/>
          <ac:spMkLst>
            <pc:docMk/>
            <pc:sldMk cId="1540080344" sldId="343"/>
            <ac:spMk id="42" creationId="{3560548E-8DE6-48D5-9443-A1B09F69A546}"/>
          </ac:spMkLst>
        </pc:spChg>
        <pc:spChg chg="add del mod">
          <ac:chgData name="Quiros Araya, Gustavo (T RDA FOA AES-US)" userId="87a2443b-d0c9-4518-9ebc-d799baa37986" providerId="ADAL" clId="{8890887C-F27B-4EA1-B41C-91E3647CEAF0}" dt="2021-02-22T18:24:08.704" v="894" actId="478"/>
          <ac:spMkLst>
            <pc:docMk/>
            <pc:sldMk cId="1540080344" sldId="343"/>
            <ac:spMk id="43" creationId="{6A449A87-1019-4E88-9503-F442E880C26B}"/>
          </ac:spMkLst>
        </pc:spChg>
        <pc:spChg chg="add mod">
          <ac:chgData name="Quiros Araya, Gustavo (T RDA FOA AES-US)" userId="87a2443b-d0c9-4518-9ebc-d799baa37986" providerId="ADAL" clId="{8890887C-F27B-4EA1-B41C-91E3647CEAF0}" dt="2021-02-22T20:13:03.819" v="1213" actId="403"/>
          <ac:spMkLst>
            <pc:docMk/>
            <pc:sldMk cId="1540080344" sldId="343"/>
            <ac:spMk id="98" creationId="{527E697B-F910-48A6-BCFF-0C9D5B7A8E1B}"/>
          </ac:spMkLst>
        </pc:spChg>
        <pc:cxnChg chg="del mod">
          <ac:chgData name="Quiros Araya, Gustavo (T RDA FOA AES-US)" userId="87a2443b-d0c9-4518-9ebc-d799baa37986" providerId="ADAL" clId="{8890887C-F27B-4EA1-B41C-91E3647CEAF0}" dt="2021-02-22T18:26:26.645" v="913" actId="478"/>
          <ac:cxnSpMkLst>
            <pc:docMk/>
            <pc:sldMk cId="1540080344" sldId="343"/>
            <ac:cxnSpMk id="6" creationId="{BD9A5771-6C97-481A-AA13-22DEE3AA673A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2T18:26:27.891" v="914" actId="478"/>
          <ac:cxnSpMkLst>
            <pc:docMk/>
            <pc:sldMk cId="1540080344" sldId="343"/>
            <ac:cxnSpMk id="7" creationId="{C8F722B2-8C6A-4D45-A176-930534C1EFBF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2T18:26:29.325" v="915" actId="478"/>
          <ac:cxnSpMkLst>
            <pc:docMk/>
            <pc:sldMk cId="1540080344" sldId="343"/>
            <ac:cxnSpMk id="8" creationId="{7B9532AD-077A-4FAA-8A14-7D8DD534F675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2T18:26:40.231" v="921" actId="478"/>
          <ac:cxnSpMkLst>
            <pc:docMk/>
            <pc:sldMk cId="1540080344" sldId="343"/>
            <ac:cxnSpMk id="9" creationId="{B2DCF8A5-0AD8-44D2-A571-F7DCCD70D731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2T18:26:39.427" v="920" actId="478"/>
          <ac:cxnSpMkLst>
            <pc:docMk/>
            <pc:sldMk cId="1540080344" sldId="343"/>
            <ac:cxnSpMk id="10" creationId="{0E5FF9D6-D501-4A26-A6C9-AB6967220BA0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2T18:26:37.719" v="919" actId="478"/>
          <ac:cxnSpMkLst>
            <pc:docMk/>
            <pc:sldMk cId="1540080344" sldId="343"/>
            <ac:cxnSpMk id="11" creationId="{A3DDC872-E800-484C-AFD6-BC2032BB93E5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2T18:26:36.052" v="918" actId="478"/>
          <ac:cxnSpMkLst>
            <pc:docMk/>
            <pc:sldMk cId="1540080344" sldId="343"/>
            <ac:cxnSpMk id="12" creationId="{187A349B-0A76-4424-8D9E-E7E334D21A30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2T18:26:34.535" v="917" actId="478"/>
          <ac:cxnSpMkLst>
            <pc:docMk/>
            <pc:sldMk cId="1540080344" sldId="343"/>
            <ac:cxnSpMk id="13" creationId="{95679390-42A4-47EA-B08D-9BEFB81FB047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2T18:26:33" v="916" actId="478"/>
          <ac:cxnSpMkLst>
            <pc:docMk/>
            <pc:sldMk cId="1540080344" sldId="343"/>
            <ac:cxnSpMk id="14" creationId="{2E9AFB3C-F7A3-4BBC-8C4A-50EB0A48B86E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2T18:25:22.183" v="902" actId="478"/>
          <ac:cxnSpMkLst>
            <pc:docMk/>
            <pc:sldMk cId="1540080344" sldId="343"/>
            <ac:cxnSpMk id="40" creationId="{D35831DE-6A22-4AE0-AE93-C67CF95A4FA9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2T20:13:25.115" v="1225" actId="1036"/>
          <ac:cxnSpMkLst>
            <pc:docMk/>
            <pc:sldMk cId="1540080344" sldId="343"/>
            <ac:cxnSpMk id="44" creationId="{9DDF1A24-6AF4-49D7-9002-B846218A445B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2T20:05:37.931" v="1134" actId="478"/>
          <ac:cxnSpMkLst>
            <pc:docMk/>
            <pc:sldMk cId="1540080344" sldId="343"/>
            <ac:cxnSpMk id="47" creationId="{5F170AA9-DFF6-4355-A231-2AFB97A9A0D2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2T20:05:40.195" v="1135" actId="478"/>
          <ac:cxnSpMkLst>
            <pc:docMk/>
            <pc:sldMk cId="1540080344" sldId="343"/>
            <ac:cxnSpMk id="50" creationId="{259D34DF-6D08-42D0-A831-775A617E6D21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2T20:06:51.014" v="1149" actId="478"/>
          <ac:cxnSpMkLst>
            <pc:docMk/>
            <pc:sldMk cId="1540080344" sldId="343"/>
            <ac:cxnSpMk id="54" creationId="{A861EA95-4FED-4D2C-A7D3-1D14CC2B332C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2T20:06:52.361" v="1150" actId="478"/>
          <ac:cxnSpMkLst>
            <pc:docMk/>
            <pc:sldMk cId="1540080344" sldId="343"/>
            <ac:cxnSpMk id="55" creationId="{4C39E357-6510-404E-AB29-F887C0BF0D68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2T20:06:53.774" v="1151" actId="478"/>
          <ac:cxnSpMkLst>
            <pc:docMk/>
            <pc:sldMk cId="1540080344" sldId="343"/>
            <ac:cxnSpMk id="56" creationId="{8C9504D3-58E9-4C0D-82DC-52112C2D6D87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2T20:04:45.665" v="1116"/>
          <ac:cxnSpMkLst>
            <pc:docMk/>
            <pc:sldMk cId="1540080344" sldId="343"/>
            <ac:cxnSpMk id="70" creationId="{22DFFAEA-D10A-4342-AC8B-8EDBC893B212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2T20:03:25.468" v="1108"/>
          <ac:cxnSpMkLst>
            <pc:docMk/>
            <pc:sldMk cId="1540080344" sldId="343"/>
            <ac:cxnSpMk id="75" creationId="{AB3BF3E4-EA23-4560-831B-248B2508F342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13:25.115" v="1225" actId="1036"/>
          <ac:cxnSpMkLst>
            <pc:docMk/>
            <pc:sldMk cId="1540080344" sldId="343"/>
            <ac:cxnSpMk id="86" creationId="{A7354BA4-B5ED-466D-88B0-C9E5E3C68623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13:25.115" v="1225" actId="1036"/>
          <ac:cxnSpMkLst>
            <pc:docMk/>
            <pc:sldMk cId="1540080344" sldId="343"/>
            <ac:cxnSpMk id="87" creationId="{12946227-349F-45F9-9AF0-E3D1CD4922C1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13:25.115" v="1225" actId="1036"/>
          <ac:cxnSpMkLst>
            <pc:docMk/>
            <pc:sldMk cId="1540080344" sldId="343"/>
            <ac:cxnSpMk id="88" creationId="{C68E224D-9965-4F4B-8A6B-E6F844B51B36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13:25.115" v="1225" actId="1036"/>
          <ac:cxnSpMkLst>
            <pc:docMk/>
            <pc:sldMk cId="1540080344" sldId="343"/>
            <ac:cxnSpMk id="89" creationId="{64C590C8-32B4-4E38-AB77-426641C19FC5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13:25.115" v="1225" actId="1036"/>
          <ac:cxnSpMkLst>
            <pc:docMk/>
            <pc:sldMk cId="1540080344" sldId="343"/>
            <ac:cxnSpMk id="90" creationId="{80DDEA5D-3B23-4ED8-94D2-F6EB4F83CFCD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13:25.115" v="1225" actId="1036"/>
          <ac:cxnSpMkLst>
            <pc:docMk/>
            <pc:sldMk cId="1540080344" sldId="343"/>
            <ac:cxnSpMk id="91" creationId="{5C75340D-9FED-4BDA-BA5A-F748CBA42BE7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13:25.115" v="1225" actId="1036"/>
          <ac:cxnSpMkLst>
            <pc:docMk/>
            <pc:sldMk cId="1540080344" sldId="343"/>
            <ac:cxnSpMk id="95" creationId="{2FEB424C-021E-4235-B116-5973948A0F1D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13:25.115" v="1225" actId="1036"/>
          <ac:cxnSpMkLst>
            <pc:docMk/>
            <pc:sldMk cId="1540080344" sldId="343"/>
            <ac:cxnSpMk id="96" creationId="{AE4F5481-8E95-4421-8CE3-089CBEEEBFE6}"/>
          </ac:cxnSpMkLst>
        </pc:cxnChg>
      </pc:sldChg>
      <pc:sldChg chg="addSp modSp mod delCm">
        <pc:chgData name="Quiros Araya, Gustavo (T RDA FOA AES-US)" userId="87a2443b-d0c9-4518-9ebc-d799baa37986" providerId="ADAL" clId="{8890887C-F27B-4EA1-B41C-91E3647CEAF0}" dt="2021-02-23T05:16:11.570" v="3296" actId="1592"/>
        <pc:sldMkLst>
          <pc:docMk/>
          <pc:sldMk cId="1735016355" sldId="344"/>
        </pc:sldMkLst>
        <pc:spChg chg="add mod">
          <ac:chgData name="Quiros Araya, Gustavo (T RDA FOA AES-US)" userId="87a2443b-d0c9-4518-9ebc-d799baa37986" providerId="ADAL" clId="{8890887C-F27B-4EA1-B41C-91E3647CEAF0}" dt="2021-02-23T05:11:00.810" v="3280" actId="14100"/>
          <ac:spMkLst>
            <pc:docMk/>
            <pc:sldMk cId="1735016355" sldId="344"/>
            <ac:spMk id="7" creationId="{5BEE0ED9-4248-4C0F-955F-C9266770BBCE}"/>
          </ac:spMkLst>
        </pc:spChg>
      </pc:sldChg>
      <pc:sldChg chg="del">
        <pc:chgData name="Quiros Araya, Gustavo (T RDA FOA AES-US)" userId="87a2443b-d0c9-4518-9ebc-d799baa37986" providerId="ADAL" clId="{8890887C-F27B-4EA1-B41C-91E3647CEAF0}" dt="2021-02-22T14:55:27.123" v="581" actId="2696"/>
        <pc:sldMkLst>
          <pc:docMk/>
          <pc:sldMk cId="2943026226" sldId="345"/>
        </pc:sldMkLst>
      </pc:sldChg>
      <pc:sldChg chg="modSp mod ord modShow delCm">
        <pc:chgData name="Quiros Araya, Gustavo (T RDA FOA AES-US)" userId="87a2443b-d0c9-4518-9ebc-d799baa37986" providerId="ADAL" clId="{8890887C-F27B-4EA1-B41C-91E3647CEAF0}" dt="2021-02-23T05:16:11.573" v="3299" actId="1592"/>
        <pc:sldMkLst>
          <pc:docMk/>
          <pc:sldMk cId="3433256571" sldId="347"/>
        </pc:sldMkLst>
        <pc:picChg chg="mod">
          <ac:chgData name="Quiros Araya, Gustavo (T RDA FOA AES-US)" userId="87a2443b-d0c9-4518-9ebc-d799baa37986" providerId="ADAL" clId="{8890887C-F27B-4EA1-B41C-91E3647CEAF0}" dt="2021-02-23T05:15:42.113" v="3287" actId="1076"/>
          <ac:picMkLst>
            <pc:docMk/>
            <pc:sldMk cId="3433256571" sldId="347"/>
            <ac:picMk id="5" creationId="{7B9EE3CA-82F0-4F2B-A1EB-58A97DF55E5E}"/>
          </ac:picMkLst>
        </pc:picChg>
      </pc:sldChg>
      <pc:sldChg chg="del">
        <pc:chgData name="Quiros Araya, Gustavo (T RDA FOA AES-US)" userId="87a2443b-d0c9-4518-9ebc-d799baa37986" providerId="ADAL" clId="{8890887C-F27B-4EA1-B41C-91E3647CEAF0}" dt="2021-02-22T14:40:51.075" v="332" actId="2696"/>
        <pc:sldMkLst>
          <pc:docMk/>
          <pc:sldMk cId="1450207657" sldId="3191"/>
        </pc:sldMkLst>
      </pc:sldChg>
      <pc:sldChg chg="addSp delSp modSp mod">
        <pc:chgData name="Quiros Araya, Gustavo (T RDA FOA AES-US)" userId="87a2443b-d0c9-4518-9ebc-d799baa37986" providerId="ADAL" clId="{8890887C-F27B-4EA1-B41C-91E3647CEAF0}" dt="2021-02-23T04:44:15.848" v="3166" actId="1076"/>
        <pc:sldMkLst>
          <pc:docMk/>
          <pc:sldMk cId="4267342481" sldId="3192"/>
        </pc:sldMkLst>
        <pc:spChg chg="mod">
          <ac:chgData name="Quiros Araya, Gustavo (T RDA FOA AES-US)" userId="87a2443b-d0c9-4518-9ebc-d799baa37986" providerId="ADAL" clId="{8890887C-F27B-4EA1-B41C-91E3647CEAF0}" dt="2021-02-23T03:45:45.229" v="3124" actId="20577"/>
          <ac:spMkLst>
            <pc:docMk/>
            <pc:sldMk cId="4267342481" sldId="3192"/>
            <ac:spMk id="2" creationId="{5EDE4A77-44B8-4E5C-9758-E5547E9DC2E5}"/>
          </ac:spMkLst>
        </pc:spChg>
        <pc:spChg chg="mod">
          <ac:chgData name="Quiros Araya, Gustavo (T RDA FOA AES-US)" userId="87a2443b-d0c9-4518-9ebc-d799baa37986" providerId="ADAL" clId="{8890887C-F27B-4EA1-B41C-91E3647CEAF0}" dt="2021-02-22T14:44:51.728" v="354"/>
          <ac:spMkLst>
            <pc:docMk/>
            <pc:sldMk cId="4267342481" sldId="3192"/>
            <ac:spMk id="3" creationId="{5710486C-3820-4510-800A-7F4B775B100F}"/>
          </ac:spMkLst>
        </pc:spChg>
        <pc:spChg chg="mod">
          <ac:chgData name="Quiros Araya, Gustavo (T RDA FOA AES-US)" userId="87a2443b-d0c9-4518-9ebc-d799baa37986" providerId="ADAL" clId="{8890887C-F27B-4EA1-B41C-91E3647CEAF0}" dt="2021-02-23T02:20:56.175" v="2146" actId="14100"/>
          <ac:spMkLst>
            <pc:docMk/>
            <pc:sldMk cId="4267342481" sldId="3192"/>
            <ac:spMk id="6" creationId="{D6146EFF-9C53-43D2-B802-663904C4FE4A}"/>
          </ac:spMkLst>
        </pc:spChg>
        <pc:spChg chg="mod">
          <ac:chgData name="Quiros Araya, Gustavo (T RDA FOA AES-US)" userId="87a2443b-d0c9-4518-9ebc-d799baa37986" providerId="ADAL" clId="{8890887C-F27B-4EA1-B41C-91E3647CEAF0}" dt="2021-02-23T02:24:51.177" v="2178" actId="14100"/>
          <ac:spMkLst>
            <pc:docMk/>
            <pc:sldMk cId="4267342481" sldId="3192"/>
            <ac:spMk id="7" creationId="{50C3F952-7C38-400B-A5EB-B2DADFB6A6AB}"/>
          </ac:spMkLst>
        </pc:spChg>
        <pc:spChg chg="mod">
          <ac:chgData name="Quiros Araya, Gustavo (T RDA FOA AES-US)" userId="87a2443b-d0c9-4518-9ebc-d799baa37986" providerId="ADAL" clId="{8890887C-F27B-4EA1-B41C-91E3647CEAF0}" dt="2021-02-23T02:24:27.651" v="2175" actId="14100"/>
          <ac:spMkLst>
            <pc:docMk/>
            <pc:sldMk cId="4267342481" sldId="3192"/>
            <ac:spMk id="8" creationId="{475886E5-49BB-4AD3-8C81-A956684559D8}"/>
          </ac:spMkLst>
        </pc:spChg>
        <pc:spChg chg="mod">
          <ac:chgData name="Quiros Araya, Gustavo (T RDA FOA AES-US)" userId="87a2443b-d0c9-4518-9ebc-d799baa37986" providerId="ADAL" clId="{8890887C-F27B-4EA1-B41C-91E3647CEAF0}" dt="2021-02-23T02:15:14.554" v="2068" actId="14100"/>
          <ac:spMkLst>
            <pc:docMk/>
            <pc:sldMk cId="4267342481" sldId="3192"/>
            <ac:spMk id="9" creationId="{DFD83E63-4FEE-465B-9194-433CDC8BA5D1}"/>
          </ac:spMkLst>
        </pc:spChg>
        <pc:spChg chg="mod">
          <ac:chgData name="Quiros Araya, Gustavo (T RDA FOA AES-US)" userId="87a2443b-d0c9-4518-9ebc-d799baa37986" providerId="ADAL" clId="{8890887C-F27B-4EA1-B41C-91E3647CEAF0}" dt="2021-02-22T20:42:35.995" v="1544" actId="20577"/>
          <ac:spMkLst>
            <pc:docMk/>
            <pc:sldMk cId="4267342481" sldId="3192"/>
            <ac:spMk id="10" creationId="{AD16EEE9-6251-4122-93F3-9BAF0CED6B6D}"/>
          </ac:spMkLst>
        </pc:spChg>
        <pc:spChg chg="mod">
          <ac:chgData name="Quiros Araya, Gustavo (T RDA FOA AES-US)" userId="87a2443b-d0c9-4518-9ebc-d799baa37986" providerId="ADAL" clId="{8890887C-F27B-4EA1-B41C-91E3647CEAF0}" dt="2021-02-22T20:51:53.651" v="1612" actId="14100"/>
          <ac:spMkLst>
            <pc:docMk/>
            <pc:sldMk cId="4267342481" sldId="3192"/>
            <ac:spMk id="11" creationId="{F4DFB32F-F322-49DE-A81B-3FA8619CE7D2}"/>
          </ac:spMkLst>
        </pc:spChg>
        <pc:spChg chg="mod">
          <ac:chgData name="Quiros Araya, Gustavo (T RDA FOA AES-US)" userId="87a2443b-d0c9-4518-9ebc-d799baa37986" providerId="ADAL" clId="{8890887C-F27B-4EA1-B41C-91E3647CEAF0}" dt="2021-02-23T02:21:21.300" v="2149" actId="14100"/>
          <ac:spMkLst>
            <pc:docMk/>
            <pc:sldMk cId="4267342481" sldId="3192"/>
            <ac:spMk id="12" creationId="{AD32C73B-DEE8-4A1A-943A-D9E7414989FC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2:17:03.201" v="2128" actId="478"/>
          <ac:spMkLst>
            <pc:docMk/>
            <pc:sldMk cId="4267342481" sldId="3192"/>
            <ac:spMk id="15" creationId="{D42FABC7-8E91-4E38-973A-08986D951332}"/>
          </ac:spMkLst>
        </pc:spChg>
        <pc:spChg chg="mod">
          <ac:chgData name="Quiros Araya, Gustavo (T RDA FOA AES-US)" userId="87a2443b-d0c9-4518-9ebc-d799baa37986" providerId="ADAL" clId="{8890887C-F27B-4EA1-B41C-91E3647CEAF0}" dt="2021-02-22T14:45:03.920" v="372" actId="1037"/>
          <ac:spMkLst>
            <pc:docMk/>
            <pc:sldMk cId="4267342481" sldId="3192"/>
            <ac:spMk id="29" creationId="{BABFDBF8-977C-45EE-B2DB-9A1EB0807692}"/>
          </ac:spMkLst>
        </pc:spChg>
        <pc:spChg chg="mod">
          <ac:chgData name="Quiros Araya, Gustavo (T RDA FOA AES-US)" userId="87a2443b-d0c9-4518-9ebc-d799baa37986" providerId="ADAL" clId="{8890887C-F27B-4EA1-B41C-91E3647CEAF0}" dt="2021-02-22T14:45:03.920" v="372" actId="1037"/>
          <ac:spMkLst>
            <pc:docMk/>
            <pc:sldMk cId="4267342481" sldId="3192"/>
            <ac:spMk id="31" creationId="{601DDBDE-CCC0-45A1-9391-F35C6C5FA48E}"/>
          </ac:spMkLst>
        </pc:spChg>
        <pc:spChg chg="mod">
          <ac:chgData name="Quiros Araya, Gustavo (T RDA FOA AES-US)" userId="87a2443b-d0c9-4518-9ebc-d799baa37986" providerId="ADAL" clId="{8890887C-F27B-4EA1-B41C-91E3647CEAF0}" dt="2021-02-22T14:54:22.804" v="580" actId="20577"/>
          <ac:spMkLst>
            <pc:docMk/>
            <pc:sldMk cId="4267342481" sldId="3192"/>
            <ac:spMk id="33" creationId="{37AF3E32-63A0-4513-A4D8-32BEF6D4EEAD}"/>
          </ac:spMkLst>
        </pc:spChg>
        <pc:spChg chg="mod">
          <ac:chgData name="Quiros Araya, Gustavo (T RDA FOA AES-US)" userId="87a2443b-d0c9-4518-9ebc-d799baa37986" providerId="ADAL" clId="{8890887C-F27B-4EA1-B41C-91E3647CEAF0}" dt="2021-02-22T14:45:03.920" v="372" actId="1037"/>
          <ac:spMkLst>
            <pc:docMk/>
            <pc:sldMk cId="4267342481" sldId="3192"/>
            <ac:spMk id="34" creationId="{F2530093-EB33-4E68-A69C-93E602D9B16F}"/>
          </ac:spMkLst>
        </pc:spChg>
        <pc:spChg chg="mod">
          <ac:chgData name="Quiros Araya, Gustavo (T RDA FOA AES-US)" userId="87a2443b-d0c9-4518-9ebc-d799baa37986" providerId="ADAL" clId="{8890887C-F27B-4EA1-B41C-91E3647CEAF0}" dt="2021-02-22T14:45:03.920" v="372" actId="1037"/>
          <ac:spMkLst>
            <pc:docMk/>
            <pc:sldMk cId="4267342481" sldId="3192"/>
            <ac:spMk id="35" creationId="{38E813FF-5784-49C8-B04E-E87E3978CBDD}"/>
          </ac:spMkLst>
        </pc:spChg>
        <pc:spChg chg="mod">
          <ac:chgData name="Quiros Araya, Gustavo (T RDA FOA AES-US)" userId="87a2443b-d0c9-4518-9ebc-d799baa37986" providerId="ADAL" clId="{8890887C-F27B-4EA1-B41C-91E3647CEAF0}" dt="2021-02-22T14:45:03.920" v="372" actId="1037"/>
          <ac:spMkLst>
            <pc:docMk/>
            <pc:sldMk cId="4267342481" sldId="3192"/>
            <ac:spMk id="36" creationId="{B8FD305F-596D-4325-B8B4-B68820D99EC9}"/>
          </ac:spMkLst>
        </pc:spChg>
        <pc:spChg chg="mod">
          <ac:chgData name="Quiros Araya, Gustavo (T RDA FOA AES-US)" userId="87a2443b-d0c9-4518-9ebc-d799baa37986" providerId="ADAL" clId="{8890887C-F27B-4EA1-B41C-91E3647CEAF0}" dt="2021-02-22T14:45:03.920" v="372" actId="1037"/>
          <ac:spMkLst>
            <pc:docMk/>
            <pc:sldMk cId="4267342481" sldId="3192"/>
            <ac:spMk id="38" creationId="{8852F3BB-3F48-4AD5-B08E-DE2B8CAFE261}"/>
          </ac:spMkLst>
        </pc:spChg>
        <pc:spChg chg="mod">
          <ac:chgData name="Quiros Araya, Gustavo (T RDA FOA AES-US)" userId="87a2443b-d0c9-4518-9ebc-d799baa37986" providerId="ADAL" clId="{8890887C-F27B-4EA1-B41C-91E3647CEAF0}" dt="2021-02-22T14:45:03.920" v="372" actId="1037"/>
          <ac:spMkLst>
            <pc:docMk/>
            <pc:sldMk cId="4267342481" sldId="3192"/>
            <ac:spMk id="39" creationId="{9FC56EF1-FA10-4B9C-9F7C-EAD7993DF46C}"/>
          </ac:spMkLst>
        </pc:spChg>
        <pc:spChg chg="add mod">
          <ac:chgData name="Quiros Araya, Gustavo (T RDA FOA AES-US)" userId="87a2443b-d0c9-4518-9ebc-d799baa37986" providerId="ADAL" clId="{8890887C-F27B-4EA1-B41C-91E3647CEAF0}" dt="2021-02-23T02:25:09.643" v="2180" actId="14100"/>
          <ac:spMkLst>
            <pc:docMk/>
            <pc:sldMk cId="4267342481" sldId="3192"/>
            <ac:spMk id="42" creationId="{9C9CE960-F559-4A81-AA4D-930CFF5D4763}"/>
          </ac:spMkLst>
        </pc:spChg>
        <pc:spChg chg="add mod">
          <ac:chgData name="Quiros Araya, Gustavo (T RDA FOA AES-US)" userId="87a2443b-d0c9-4518-9ebc-d799baa37986" providerId="ADAL" clId="{8890887C-F27B-4EA1-B41C-91E3647CEAF0}" dt="2021-02-23T02:15:34.239" v="2106" actId="1036"/>
          <ac:spMkLst>
            <pc:docMk/>
            <pc:sldMk cId="4267342481" sldId="3192"/>
            <ac:spMk id="48" creationId="{399EAC9D-980A-439A-98CA-0991DA717FB2}"/>
          </ac:spMkLst>
        </pc:spChg>
        <pc:spChg chg="add mod">
          <ac:chgData name="Quiros Araya, Gustavo (T RDA FOA AES-US)" userId="87a2443b-d0c9-4518-9ebc-d799baa37986" providerId="ADAL" clId="{8890887C-F27B-4EA1-B41C-91E3647CEAF0}" dt="2021-02-23T02:25:21.397" v="2182" actId="14100"/>
          <ac:spMkLst>
            <pc:docMk/>
            <pc:sldMk cId="4267342481" sldId="3192"/>
            <ac:spMk id="50" creationId="{3B93D029-956E-4CD8-8682-49ECE706FFA0}"/>
          </ac:spMkLst>
        </pc:spChg>
        <pc:spChg chg="add mod">
          <ac:chgData name="Quiros Araya, Gustavo (T RDA FOA AES-US)" userId="87a2443b-d0c9-4518-9ebc-d799baa37986" providerId="ADAL" clId="{8890887C-F27B-4EA1-B41C-91E3647CEAF0}" dt="2021-02-23T02:23:52.319" v="2171" actId="1037"/>
          <ac:spMkLst>
            <pc:docMk/>
            <pc:sldMk cId="4267342481" sldId="3192"/>
            <ac:spMk id="52" creationId="{2ADBE0DA-3876-4EA8-AAA4-2787F6B330F2}"/>
          </ac:spMkLst>
        </pc:spChg>
        <pc:spChg chg="add mod">
          <ac:chgData name="Quiros Araya, Gustavo (T RDA FOA AES-US)" userId="87a2443b-d0c9-4518-9ebc-d799baa37986" providerId="ADAL" clId="{8890887C-F27B-4EA1-B41C-91E3647CEAF0}" dt="2021-02-23T02:22:36.005" v="2158" actId="20577"/>
          <ac:spMkLst>
            <pc:docMk/>
            <pc:sldMk cId="4267342481" sldId="3192"/>
            <ac:spMk id="55" creationId="{D57CF085-9B0B-4ED0-9734-4BB98D7B9739}"/>
          </ac:spMkLst>
        </pc:spChg>
        <pc:picChg chg="add del mod">
          <ac:chgData name="Quiros Araya, Gustavo (T RDA FOA AES-US)" userId="87a2443b-d0c9-4518-9ebc-d799baa37986" providerId="ADAL" clId="{8890887C-F27B-4EA1-B41C-91E3647CEAF0}" dt="2021-02-23T02:13:50.311" v="2062" actId="478"/>
          <ac:picMkLst>
            <pc:docMk/>
            <pc:sldMk cId="4267342481" sldId="3192"/>
            <ac:picMk id="25" creationId="{11BA6FA1-61D9-4EE9-AD13-BD18DFE6C58D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2:21:02.745" v="2147" actId="1076"/>
          <ac:picMkLst>
            <pc:docMk/>
            <pc:sldMk cId="4267342481" sldId="3192"/>
            <ac:picMk id="27" creationId="{83DF9F3E-5515-47CF-8599-3613FDA0C772}"/>
          </ac:picMkLst>
        </pc:picChg>
        <pc:picChg chg="mod">
          <ac:chgData name="Quiros Araya, Gustavo (T RDA FOA AES-US)" userId="87a2443b-d0c9-4518-9ebc-d799baa37986" providerId="ADAL" clId="{8890887C-F27B-4EA1-B41C-91E3647CEAF0}" dt="2021-02-22T14:45:03.920" v="372" actId="1037"/>
          <ac:picMkLst>
            <pc:docMk/>
            <pc:sldMk cId="4267342481" sldId="3192"/>
            <ac:picMk id="30" creationId="{C49BEBD0-856B-4646-8E03-39DF7CDF6036}"/>
          </ac:picMkLst>
        </pc:picChg>
        <pc:picChg chg="mod">
          <ac:chgData name="Quiros Araya, Gustavo (T RDA FOA AES-US)" userId="87a2443b-d0c9-4518-9ebc-d799baa37986" providerId="ADAL" clId="{8890887C-F27B-4EA1-B41C-91E3647CEAF0}" dt="2021-02-22T14:45:03.920" v="372" actId="1037"/>
          <ac:picMkLst>
            <pc:docMk/>
            <pc:sldMk cId="4267342481" sldId="3192"/>
            <ac:picMk id="32" creationId="{E7C19AC4-C3A9-4972-8573-09C7FAFB0CA0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2:24:38.511" v="2176" actId="1076"/>
          <ac:picMkLst>
            <pc:docMk/>
            <pc:sldMk cId="4267342481" sldId="3192"/>
            <ac:picMk id="37" creationId="{0D5BAE54-A43B-4A79-A39E-3AE11A1AD6E9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2:24:55.535" v="2179" actId="1076"/>
          <ac:picMkLst>
            <pc:docMk/>
            <pc:sldMk cId="4267342481" sldId="3192"/>
            <ac:picMk id="41" creationId="{FEB57C21-92E3-4A39-97DC-7CA67D20E5A9}"/>
          </ac:picMkLst>
        </pc:picChg>
        <pc:picChg chg="add del mod">
          <ac:chgData name="Quiros Araya, Gustavo (T RDA FOA AES-US)" userId="87a2443b-d0c9-4518-9ebc-d799baa37986" providerId="ADAL" clId="{8890887C-F27B-4EA1-B41C-91E3647CEAF0}" dt="2021-02-23T04:43:52.914" v="3161" actId="478"/>
          <ac:picMkLst>
            <pc:docMk/>
            <pc:sldMk cId="4267342481" sldId="3192"/>
            <ac:picMk id="43" creationId="{4F2A7696-9F91-43C9-8BFE-B5D13A091FEA}"/>
          </ac:picMkLst>
        </pc:picChg>
        <pc:picChg chg="add del mod">
          <ac:chgData name="Quiros Araya, Gustavo (T RDA FOA AES-US)" userId="87a2443b-d0c9-4518-9ebc-d799baa37986" providerId="ADAL" clId="{8890887C-F27B-4EA1-B41C-91E3647CEAF0}" dt="2021-02-23T02:13:54.343" v="2064" actId="478"/>
          <ac:picMkLst>
            <pc:docMk/>
            <pc:sldMk cId="4267342481" sldId="3192"/>
            <ac:picMk id="44" creationId="{A8178237-D646-4D1D-B98B-C8AC5162A92F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2:15:44.074" v="2126" actId="1036"/>
          <ac:picMkLst>
            <pc:docMk/>
            <pc:sldMk cId="4267342481" sldId="3192"/>
            <ac:picMk id="45" creationId="{661FD49E-7A6E-47B3-8A21-ECFF3136A04A}"/>
          </ac:picMkLst>
        </pc:picChg>
        <pc:picChg chg="add mod">
          <ac:chgData name="Quiros Araya, Gustavo (T RDA FOA AES-US)" userId="87a2443b-d0c9-4518-9ebc-d799baa37986" providerId="ADAL" clId="{8890887C-F27B-4EA1-B41C-91E3647CEAF0}" dt="2021-02-22T18:18:23.009" v="884" actId="1076"/>
          <ac:picMkLst>
            <pc:docMk/>
            <pc:sldMk cId="4267342481" sldId="3192"/>
            <ac:picMk id="46" creationId="{27A838DA-E0F0-4686-87BC-8EEFABF4C0AF}"/>
          </ac:picMkLst>
        </pc:picChg>
        <pc:picChg chg="add del mod">
          <ac:chgData name="Quiros Araya, Gustavo (T RDA FOA AES-US)" userId="87a2443b-d0c9-4518-9ebc-d799baa37986" providerId="ADAL" clId="{8890887C-F27B-4EA1-B41C-91E3647CEAF0}" dt="2021-02-23T02:13:53.482" v="2063" actId="478"/>
          <ac:picMkLst>
            <pc:docMk/>
            <pc:sldMk cId="4267342481" sldId="3192"/>
            <ac:picMk id="47" creationId="{7852F638-C2A9-4CED-8699-669D6BB576A8}"/>
          </ac:picMkLst>
        </pc:picChg>
        <pc:picChg chg="add del mod">
          <ac:chgData name="Quiros Araya, Gustavo (T RDA FOA AES-US)" userId="87a2443b-d0c9-4518-9ebc-d799baa37986" providerId="ADAL" clId="{8890887C-F27B-4EA1-B41C-91E3647CEAF0}" dt="2021-02-23T02:19:16.774" v="2129" actId="478"/>
          <ac:picMkLst>
            <pc:docMk/>
            <pc:sldMk cId="4267342481" sldId="3192"/>
            <ac:picMk id="49" creationId="{6D7885CE-30B4-4B43-B04A-558EE0860749}"/>
          </ac:picMkLst>
        </pc:picChg>
        <pc:picChg chg="add del mod">
          <ac:chgData name="Quiros Araya, Gustavo (T RDA FOA AES-US)" userId="87a2443b-d0c9-4518-9ebc-d799baa37986" providerId="ADAL" clId="{8890887C-F27B-4EA1-B41C-91E3647CEAF0}" dt="2021-02-23T04:43:53.966" v="3162" actId="478"/>
          <ac:picMkLst>
            <pc:docMk/>
            <pc:sldMk cId="4267342481" sldId="3192"/>
            <ac:picMk id="51" creationId="{ADC0E71A-7EA9-4BC0-BFBC-B39E34414B56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2:23:57.013" v="2172" actId="1076"/>
          <ac:picMkLst>
            <pc:docMk/>
            <pc:sldMk cId="4267342481" sldId="3192"/>
            <ac:picMk id="53" creationId="{99B575F6-E699-4B88-9C4E-A82BDA4E2744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2:19:23.965" v="2131" actId="1076"/>
          <ac:picMkLst>
            <pc:docMk/>
            <pc:sldMk cId="4267342481" sldId="3192"/>
            <ac:picMk id="54" creationId="{AB350D27-FF31-47E0-83F7-9BCCFBF06A6B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2:22:49.065" v="2160" actId="1076"/>
          <ac:picMkLst>
            <pc:docMk/>
            <pc:sldMk cId="4267342481" sldId="3192"/>
            <ac:picMk id="56" creationId="{76248992-4535-45CE-9D85-34ADAAF2C5E1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4:44:06.009" v="3164" actId="1076"/>
          <ac:picMkLst>
            <pc:docMk/>
            <pc:sldMk cId="4267342481" sldId="3192"/>
            <ac:picMk id="58" creationId="{C0411212-E79B-414B-935D-E04C3E1376A6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4:44:15.848" v="3166" actId="1076"/>
          <ac:picMkLst>
            <pc:docMk/>
            <pc:sldMk cId="4267342481" sldId="3192"/>
            <ac:picMk id="59" creationId="{60665CC5-C835-410D-826B-43716FD6158E}"/>
          </ac:picMkLst>
        </pc:picChg>
        <pc:cxnChg chg="mod">
          <ac:chgData name="Quiros Araya, Gustavo (T RDA FOA AES-US)" userId="87a2443b-d0c9-4518-9ebc-d799baa37986" providerId="ADAL" clId="{8890887C-F27B-4EA1-B41C-91E3647CEAF0}" dt="2021-02-23T02:16:05.487" v="2127" actId="14100"/>
          <ac:cxnSpMkLst>
            <pc:docMk/>
            <pc:sldMk cId="4267342481" sldId="3192"/>
            <ac:cxnSpMk id="16" creationId="{749DD885-B16C-4C52-951F-CF35FBCBA82F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23:39.193" v="2165" actId="14100"/>
          <ac:cxnSpMkLst>
            <pc:docMk/>
            <pc:sldMk cId="4267342481" sldId="3192"/>
            <ac:cxnSpMk id="17" creationId="{C51B57F2-C0BE-45B8-A770-FA992C521D3F}"/>
          </ac:cxnSpMkLst>
        </pc:cxnChg>
      </pc:sldChg>
      <pc:sldChg chg="delSp modSp mod">
        <pc:chgData name="Quiros Araya, Gustavo (T RDA FOA AES-US)" userId="87a2443b-d0c9-4518-9ebc-d799baa37986" providerId="ADAL" clId="{8890887C-F27B-4EA1-B41C-91E3647CEAF0}" dt="2021-02-23T03:57:16.261" v="3160" actId="20577"/>
        <pc:sldMkLst>
          <pc:docMk/>
          <pc:sldMk cId="1083926550" sldId="3193"/>
        </pc:sldMkLst>
        <pc:spChg chg="mod">
          <ac:chgData name="Quiros Araya, Gustavo (T RDA FOA AES-US)" userId="87a2443b-d0c9-4518-9ebc-d799baa37986" providerId="ADAL" clId="{8890887C-F27B-4EA1-B41C-91E3647CEAF0}" dt="2021-02-22T22:58:02.829" v="1844" actId="20577"/>
          <ac:spMkLst>
            <pc:docMk/>
            <pc:sldMk cId="1083926550" sldId="3193"/>
            <ac:spMk id="24" creationId="{4E513728-9A0B-424B-A74A-F7D17329CDF2}"/>
          </ac:spMkLst>
        </pc:spChg>
        <pc:spChg chg="mod">
          <ac:chgData name="Quiros Araya, Gustavo (T RDA FOA AES-US)" userId="87a2443b-d0c9-4518-9ebc-d799baa37986" providerId="ADAL" clId="{8890887C-F27B-4EA1-B41C-91E3647CEAF0}" dt="2021-02-23T03:57:16.261" v="3160" actId="20577"/>
          <ac:spMkLst>
            <pc:docMk/>
            <pc:sldMk cId="1083926550" sldId="3193"/>
            <ac:spMk id="35" creationId="{6DE134BD-2A9F-447E-8B58-D48C9785A808}"/>
          </ac:spMkLst>
        </pc:spChg>
        <pc:spChg chg="mod">
          <ac:chgData name="Quiros Araya, Gustavo (T RDA FOA AES-US)" userId="87a2443b-d0c9-4518-9ebc-d799baa37986" providerId="ADAL" clId="{8890887C-F27B-4EA1-B41C-91E3647CEAF0}" dt="2021-02-22T14:33:47.957" v="280" actId="403"/>
          <ac:spMkLst>
            <pc:docMk/>
            <pc:sldMk cId="1083926550" sldId="3193"/>
            <ac:spMk id="38" creationId="{10701887-0891-4BD6-97C0-5D6F243F8A3D}"/>
          </ac:spMkLst>
        </pc:spChg>
        <pc:spChg chg="mod">
          <ac:chgData name="Quiros Araya, Gustavo (T RDA FOA AES-US)" userId="87a2443b-d0c9-4518-9ebc-d799baa37986" providerId="ADAL" clId="{8890887C-F27B-4EA1-B41C-91E3647CEAF0}" dt="2021-02-22T22:57:46.943" v="1822" actId="20577"/>
          <ac:spMkLst>
            <pc:docMk/>
            <pc:sldMk cId="1083926550" sldId="3193"/>
            <ac:spMk id="46" creationId="{39EBA441-2E71-4247-8FED-E700DDF65176}"/>
          </ac:spMkLst>
        </pc:spChg>
        <pc:spChg chg="mod">
          <ac:chgData name="Quiros Araya, Gustavo (T RDA FOA AES-US)" userId="87a2443b-d0c9-4518-9ebc-d799baa37986" providerId="ADAL" clId="{8890887C-F27B-4EA1-B41C-91E3647CEAF0}" dt="2021-02-22T14:33:40.062" v="279" actId="255"/>
          <ac:spMkLst>
            <pc:docMk/>
            <pc:sldMk cId="1083926550" sldId="3193"/>
            <ac:spMk id="54" creationId="{825D5E82-C898-474C-AE8F-E4C4D0E7600D}"/>
          </ac:spMkLst>
        </pc:spChg>
        <pc:spChg chg="mod">
          <ac:chgData name="Quiros Araya, Gustavo (T RDA FOA AES-US)" userId="87a2443b-d0c9-4518-9ebc-d799baa37986" providerId="ADAL" clId="{8890887C-F27B-4EA1-B41C-91E3647CEAF0}" dt="2021-02-22T14:38:52.846" v="327" actId="20577"/>
          <ac:spMkLst>
            <pc:docMk/>
            <pc:sldMk cId="1083926550" sldId="3193"/>
            <ac:spMk id="57" creationId="{93E5E153-2200-482A-BCF8-7015D3E360DE}"/>
          </ac:spMkLst>
        </pc:spChg>
        <pc:grpChg chg="mod">
          <ac:chgData name="Quiros Araya, Gustavo (T RDA FOA AES-US)" userId="87a2443b-d0c9-4518-9ebc-d799baa37986" providerId="ADAL" clId="{8890887C-F27B-4EA1-B41C-91E3647CEAF0}" dt="2021-02-22T20:28:45.949" v="1532" actId="1076"/>
          <ac:grpSpMkLst>
            <pc:docMk/>
            <pc:sldMk cId="1083926550" sldId="3193"/>
            <ac:grpSpMk id="29" creationId="{D59D8F20-BB20-4E38-808A-99A9D5260C5C}"/>
          </ac:grpSpMkLst>
        </pc:grpChg>
        <pc:picChg chg="mod">
          <ac:chgData name="Quiros Araya, Gustavo (T RDA FOA AES-US)" userId="87a2443b-d0c9-4518-9ebc-d799baa37986" providerId="ADAL" clId="{8890887C-F27B-4EA1-B41C-91E3647CEAF0}" dt="2021-02-22T22:58:10.628" v="1861" actId="1036"/>
          <ac:picMkLst>
            <pc:docMk/>
            <pc:sldMk cId="1083926550" sldId="3193"/>
            <ac:picMk id="25" creationId="{224A102C-08E7-4CC7-8F40-B17F850D38E7}"/>
          </ac:picMkLst>
        </pc:picChg>
        <pc:picChg chg="del">
          <ac:chgData name="Quiros Araya, Gustavo (T RDA FOA AES-US)" userId="87a2443b-d0c9-4518-9ebc-d799baa37986" providerId="ADAL" clId="{8890887C-F27B-4EA1-B41C-91E3647CEAF0}" dt="2021-02-22T16:16:29.190" v="723" actId="478"/>
          <ac:picMkLst>
            <pc:docMk/>
            <pc:sldMk cId="1083926550" sldId="3193"/>
            <ac:picMk id="39" creationId="{771FB566-636D-45C8-A142-1C8EF010C858}"/>
          </ac:picMkLst>
        </pc:picChg>
        <pc:picChg chg="mod">
          <ac:chgData name="Quiros Araya, Gustavo (T RDA FOA AES-US)" userId="87a2443b-d0c9-4518-9ebc-d799baa37986" providerId="ADAL" clId="{8890887C-F27B-4EA1-B41C-91E3647CEAF0}" dt="2021-02-23T03:50:18.045" v="3138" actId="1076"/>
          <ac:picMkLst>
            <pc:docMk/>
            <pc:sldMk cId="1083926550" sldId="3193"/>
            <ac:picMk id="51" creationId="{CF33E680-6075-4B15-A8FF-2A7DEBC2EFA0}"/>
          </ac:picMkLst>
        </pc:picChg>
      </pc:sldChg>
      <pc:sldChg chg="addSp delSp modSp add del mod ord modShow">
        <pc:chgData name="Quiros Araya, Gustavo (T RDA FOA AES-US)" userId="87a2443b-d0c9-4518-9ebc-d799baa37986" providerId="ADAL" clId="{8890887C-F27B-4EA1-B41C-91E3647CEAF0}" dt="2021-02-23T05:14:10.229" v="3282" actId="47"/>
        <pc:sldMkLst>
          <pc:docMk/>
          <pc:sldMk cId="1211210264" sldId="3194"/>
        </pc:sldMkLst>
        <pc:spChg chg="mod">
          <ac:chgData name="Quiros Araya, Gustavo (T RDA FOA AES-US)" userId="87a2443b-d0c9-4518-9ebc-d799baa37986" providerId="ADAL" clId="{8890887C-F27B-4EA1-B41C-91E3647CEAF0}" dt="2021-02-22T20:21:22.768" v="1378" actId="1036"/>
          <ac:spMkLst>
            <pc:docMk/>
            <pc:sldMk cId="1211210264" sldId="3194"/>
            <ac:spMk id="5" creationId="{815798DF-4FC6-42B2-A852-017E1511FA77}"/>
          </ac:spMkLst>
        </pc:spChg>
        <pc:spChg chg="add mod ord">
          <ac:chgData name="Quiros Araya, Gustavo (T RDA FOA AES-US)" userId="87a2443b-d0c9-4518-9ebc-d799baa37986" providerId="ADAL" clId="{8890887C-F27B-4EA1-B41C-91E3647CEAF0}" dt="2021-02-22T20:23:34.151" v="1417" actId="14100"/>
          <ac:spMkLst>
            <pc:docMk/>
            <pc:sldMk cId="1211210264" sldId="3194"/>
            <ac:spMk id="6" creationId="{23264EB9-91D1-4902-BB24-9E0F324E9451}"/>
          </ac:spMkLst>
        </pc:spChg>
        <pc:spChg chg="mod">
          <ac:chgData name="Quiros Araya, Gustavo (T RDA FOA AES-US)" userId="87a2443b-d0c9-4518-9ebc-d799baa37986" providerId="ADAL" clId="{8890887C-F27B-4EA1-B41C-91E3647CEAF0}" dt="2021-02-22T20:22:40.891" v="1412" actId="1076"/>
          <ac:spMkLst>
            <pc:docMk/>
            <pc:sldMk cId="1211210264" sldId="3194"/>
            <ac:spMk id="15" creationId="{11558BE4-D551-4DF1-8C9A-45AB34EDAF72}"/>
          </ac:spMkLst>
        </pc:spChg>
        <pc:spChg chg="mod">
          <ac:chgData name="Quiros Araya, Gustavo (T RDA FOA AES-US)" userId="87a2443b-d0c9-4518-9ebc-d799baa37986" providerId="ADAL" clId="{8890887C-F27B-4EA1-B41C-91E3647CEAF0}" dt="2021-02-22T20:21:17.693" v="1364" actId="1035"/>
          <ac:spMkLst>
            <pc:docMk/>
            <pc:sldMk cId="1211210264" sldId="3194"/>
            <ac:spMk id="16" creationId="{A2232D69-6F56-430E-8594-208BEA6D0D95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7.102" v="1394" actId="1036"/>
          <ac:spMkLst>
            <pc:docMk/>
            <pc:sldMk cId="1211210264" sldId="3194"/>
            <ac:spMk id="17" creationId="{57DD1D51-1EA8-44D5-9DD8-0268CCB08F56}"/>
          </ac:spMkLst>
        </pc:spChg>
        <pc:spChg chg="mod">
          <ac:chgData name="Quiros Araya, Gustavo (T RDA FOA AES-US)" userId="87a2443b-d0c9-4518-9ebc-d799baa37986" providerId="ADAL" clId="{8890887C-F27B-4EA1-B41C-91E3647CEAF0}" dt="2021-02-22T20:22:05.889" v="1409" actId="1076"/>
          <ac:spMkLst>
            <pc:docMk/>
            <pc:sldMk cId="1211210264" sldId="3194"/>
            <ac:spMk id="18" creationId="{9024B9A4-91FE-471C-A0B6-106AD3D0FDF6}"/>
          </ac:spMkLst>
        </pc:spChg>
        <pc:spChg chg="mod">
          <ac:chgData name="Quiros Araya, Gustavo (T RDA FOA AES-US)" userId="87a2443b-d0c9-4518-9ebc-d799baa37986" providerId="ADAL" clId="{8890887C-F27B-4EA1-B41C-91E3647CEAF0}" dt="2021-02-22T20:21:17.693" v="1364" actId="1035"/>
          <ac:spMkLst>
            <pc:docMk/>
            <pc:sldMk cId="1211210264" sldId="3194"/>
            <ac:spMk id="19" creationId="{850B72CC-F32C-4128-8268-7FA61A02EBAB}"/>
          </ac:spMkLst>
        </pc:spChg>
        <pc:spChg chg="mod">
          <ac:chgData name="Quiros Araya, Gustavo (T RDA FOA AES-US)" userId="87a2443b-d0c9-4518-9ebc-d799baa37986" providerId="ADAL" clId="{8890887C-F27B-4EA1-B41C-91E3647CEAF0}" dt="2021-02-22T20:21:17.693" v="1364" actId="1035"/>
          <ac:spMkLst>
            <pc:docMk/>
            <pc:sldMk cId="1211210264" sldId="3194"/>
            <ac:spMk id="20" creationId="{F8BC4713-20BE-4322-8AD3-51D7251A2F0D}"/>
          </ac:spMkLst>
        </pc:spChg>
        <pc:spChg chg="mod">
          <ac:chgData name="Quiros Araya, Gustavo (T RDA FOA AES-US)" userId="87a2443b-d0c9-4518-9ebc-d799baa37986" providerId="ADAL" clId="{8890887C-F27B-4EA1-B41C-91E3647CEAF0}" dt="2021-02-22T20:22:05.889" v="1409" actId="1076"/>
          <ac:spMkLst>
            <pc:docMk/>
            <pc:sldMk cId="1211210264" sldId="3194"/>
            <ac:spMk id="21" creationId="{81AE2AA0-F26A-4339-AC10-BFEB834A88E8}"/>
          </ac:spMkLst>
        </pc:spChg>
        <pc:spChg chg="mod">
          <ac:chgData name="Quiros Araya, Gustavo (T RDA FOA AES-US)" userId="87a2443b-d0c9-4518-9ebc-d799baa37986" providerId="ADAL" clId="{8890887C-F27B-4EA1-B41C-91E3647CEAF0}" dt="2021-02-22T20:21:17.693" v="1364" actId="1035"/>
          <ac:spMkLst>
            <pc:docMk/>
            <pc:sldMk cId="1211210264" sldId="3194"/>
            <ac:spMk id="22" creationId="{8BD366B9-3449-4997-B249-446F910AFA8D}"/>
          </ac:spMkLst>
        </pc:spChg>
        <pc:spChg chg="mod">
          <ac:chgData name="Quiros Araya, Gustavo (T RDA FOA AES-US)" userId="87a2443b-d0c9-4518-9ebc-d799baa37986" providerId="ADAL" clId="{8890887C-F27B-4EA1-B41C-91E3647CEAF0}" dt="2021-02-22T20:21:17.693" v="1364" actId="1035"/>
          <ac:spMkLst>
            <pc:docMk/>
            <pc:sldMk cId="1211210264" sldId="3194"/>
            <ac:spMk id="23" creationId="{67A843C8-FB40-412F-AA08-08E5A17D5514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7.102" v="1394" actId="1036"/>
          <ac:spMkLst>
            <pc:docMk/>
            <pc:sldMk cId="1211210264" sldId="3194"/>
            <ac:spMk id="24" creationId="{7A3AC743-44AB-4ED8-8DD0-5D8F64FC3643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7.102" v="1394" actId="1036"/>
          <ac:spMkLst>
            <pc:docMk/>
            <pc:sldMk cId="1211210264" sldId="3194"/>
            <ac:spMk id="25" creationId="{E8439169-B699-45E5-827E-E45A1DAAB28C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7.102" v="1394" actId="1036"/>
          <ac:spMkLst>
            <pc:docMk/>
            <pc:sldMk cId="1211210264" sldId="3194"/>
            <ac:spMk id="26" creationId="{4882313A-1426-433A-9872-BF778FFF055E}"/>
          </ac:spMkLst>
        </pc:spChg>
        <pc:spChg chg="mod">
          <ac:chgData name="Quiros Araya, Gustavo (T RDA FOA AES-US)" userId="87a2443b-d0c9-4518-9ebc-d799baa37986" providerId="ADAL" clId="{8890887C-F27B-4EA1-B41C-91E3647CEAF0}" dt="2021-02-22T20:21:17.693" v="1364" actId="1035"/>
          <ac:spMkLst>
            <pc:docMk/>
            <pc:sldMk cId="1211210264" sldId="3194"/>
            <ac:spMk id="27" creationId="{D4F1D2C3-1DED-4E32-9D11-24FC2F55B26D}"/>
          </ac:spMkLst>
        </pc:spChg>
        <pc:spChg chg="mod">
          <ac:chgData name="Quiros Araya, Gustavo (T RDA FOA AES-US)" userId="87a2443b-d0c9-4518-9ebc-d799baa37986" providerId="ADAL" clId="{8890887C-F27B-4EA1-B41C-91E3647CEAF0}" dt="2021-02-22T20:22:05.889" v="1409" actId="1076"/>
          <ac:spMkLst>
            <pc:docMk/>
            <pc:sldMk cId="1211210264" sldId="3194"/>
            <ac:spMk id="28" creationId="{E91307D2-A69E-42CA-B957-F74F18334E29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7.102" v="1394" actId="1036"/>
          <ac:spMkLst>
            <pc:docMk/>
            <pc:sldMk cId="1211210264" sldId="3194"/>
            <ac:spMk id="29" creationId="{5CCE7EED-9946-4E2B-B169-1CD4C0F04181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7.102" v="1394" actId="1036"/>
          <ac:spMkLst>
            <pc:docMk/>
            <pc:sldMk cId="1211210264" sldId="3194"/>
            <ac:spMk id="30" creationId="{6F13CEB7-D271-4253-88CB-A35014EA727C}"/>
          </ac:spMkLst>
        </pc:spChg>
        <pc:spChg chg="mod">
          <ac:chgData name="Quiros Araya, Gustavo (T RDA FOA AES-US)" userId="87a2443b-d0c9-4518-9ebc-d799baa37986" providerId="ADAL" clId="{8890887C-F27B-4EA1-B41C-91E3647CEAF0}" dt="2021-02-22T20:22:38.035" v="1411" actId="1076"/>
          <ac:spMkLst>
            <pc:docMk/>
            <pc:sldMk cId="1211210264" sldId="3194"/>
            <ac:spMk id="31" creationId="{0B35027F-098B-47F8-9530-700C2420EFEF}"/>
          </ac:spMkLst>
        </pc:spChg>
        <pc:spChg chg="mod">
          <ac:chgData name="Quiros Araya, Gustavo (T RDA FOA AES-US)" userId="87a2443b-d0c9-4518-9ebc-d799baa37986" providerId="ADAL" clId="{8890887C-F27B-4EA1-B41C-91E3647CEAF0}" dt="2021-02-22T20:22:46.523" v="1413" actId="1076"/>
          <ac:spMkLst>
            <pc:docMk/>
            <pc:sldMk cId="1211210264" sldId="3194"/>
            <ac:spMk id="32" creationId="{E8EFB443-9C22-4CC4-84AF-FE30C20DA701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2.768" v="1378" actId="1036"/>
          <ac:spMkLst>
            <pc:docMk/>
            <pc:sldMk cId="1211210264" sldId="3194"/>
            <ac:spMk id="34" creationId="{4E4B93AE-E3FA-4D84-B9AA-1C6327320283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2.768" v="1378" actId="1036"/>
          <ac:spMkLst>
            <pc:docMk/>
            <pc:sldMk cId="1211210264" sldId="3194"/>
            <ac:spMk id="35" creationId="{135329E5-52A6-4157-9D38-59E66ED57095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2.768" v="1378" actId="1036"/>
          <ac:spMkLst>
            <pc:docMk/>
            <pc:sldMk cId="1211210264" sldId="3194"/>
            <ac:spMk id="36" creationId="{182E70A5-DCFF-41DD-A1B8-775D3FCA26FA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2.768" v="1378" actId="1036"/>
          <ac:spMkLst>
            <pc:docMk/>
            <pc:sldMk cId="1211210264" sldId="3194"/>
            <ac:spMk id="37" creationId="{01C34A9F-0520-489E-9717-7870DF712AC3}"/>
          </ac:spMkLst>
        </pc:spChg>
        <pc:spChg chg="mod">
          <ac:chgData name="Quiros Araya, Gustavo (T RDA FOA AES-US)" userId="87a2443b-d0c9-4518-9ebc-d799baa37986" providerId="ADAL" clId="{8890887C-F27B-4EA1-B41C-91E3647CEAF0}" dt="2021-02-22T20:21:22.768" v="1378" actId="1036"/>
          <ac:spMkLst>
            <pc:docMk/>
            <pc:sldMk cId="1211210264" sldId="3194"/>
            <ac:spMk id="38" creationId="{94050B0A-FCEC-4B59-BFF6-83B5B6C65A66}"/>
          </ac:spMkLst>
        </pc:spChg>
        <pc:spChg chg="mod">
          <ac:chgData name="Quiros Araya, Gustavo (T RDA FOA AES-US)" userId="87a2443b-d0c9-4518-9ebc-d799baa37986" providerId="ADAL" clId="{8890887C-F27B-4EA1-B41C-91E3647CEAF0}" dt="2021-02-22T20:18:13.845" v="1293" actId="1076"/>
          <ac:spMkLst>
            <pc:docMk/>
            <pc:sldMk cId="1211210264" sldId="3194"/>
            <ac:spMk id="98" creationId="{527E697B-F910-48A6-BCFF-0C9D5B7A8E1B}"/>
          </ac:spMkLst>
        </pc:spChg>
        <pc:cxnChg chg="del">
          <ac:chgData name="Quiros Araya, Gustavo (T RDA FOA AES-US)" userId="87a2443b-d0c9-4518-9ebc-d799baa37986" providerId="ADAL" clId="{8890887C-F27B-4EA1-B41C-91E3647CEAF0}" dt="2021-02-22T20:22:49.241" v="1414" actId="478"/>
          <ac:cxnSpMkLst>
            <pc:docMk/>
            <pc:sldMk cId="1211210264" sldId="3194"/>
            <ac:cxnSpMk id="44" creationId="{9DDF1A24-6AF4-49D7-9002-B846218A445B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49" creationId="{7AA60275-DF89-45CC-BD17-27CB85FC09F7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52" creationId="{43311EA2-0F72-4766-A5FB-6D81797B2891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2:09.377" v="1410" actId="14100"/>
          <ac:cxnSpMkLst>
            <pc:docMk/>
            <pc:sldMk cId="1211210264" sldId="3194"/>
            <ac:cxnSpMk id="57" creationId="{12C066D8-F692-4CFF-BC26-0CBF32D86EF5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2:05.889" v="1409" actId="1076"/>
          <ac:cxnSpMkLst>
            <pc:docMk/>
            <pc:sldMk cId="1211210264" sldId="3194"/>
            <ac:cxnSpMk id="60" creationId="{D3FE7B49-6163-4DEE-83CF-6388D639E4D8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67" creationId="{8338904D-56FC-4951-A76F-7CB84AB7D43B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70" creationId="{E5F98745-20E0-4DF4-B5B2-54DD74A232B7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2T20:20:34.113" v="1329"/>
          <ac:cxnSpMkLst>
            <pc:docMk/>
            <pc:sldMk cId="1211210264" sldId="3194"/>
            <ac:cxnSpMk id="73" creationId="{3028320E-0F75-41FF-930D-7E05BC2E2489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84" creationId="{7323C338-8984-452E-9183-0C78F19C264A}"/>
          </ac:cxnSpMkLst>
        </pc:cxnChg>
        <pc:cxnChg chg="mod">
          <ac:chgData name="Quiros Araya, Gustavo (T RDA FOA AES-US)" userId="87a2443b-d0c9-4518-9ebc-d799baa37986" providerId="ADAL" clId="{8890887C-F27B-4EA1-B41C-91E3647CEAF0}" dt="2021-02-22T20:24:29.140" v="1419" actId="14100"/>
          <ac:cxnSpMkLst>
            <pc:docMk/>
            <pc:sldMk cId="1211210264" sldId="3194"/>
            <ac:cxnSpMk id="86" creationId="{A7354BA4-B5ED-466D-88B0-C9E5E3C68623}"/>
          </ac:cxnSpMkLst>
        </pc:cxnChg>
        <pc:cxnChg chg="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87" creationId="{12946227-349F-45F9-9AF0-E3D1CD4922C1}"/>
          </ac:cxnSpMkLst>
        </pc:cxnChg>
        <pc:cxnChg chg="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88" creationId="{C68E224D-9965-4F4B-8A6B-E6F844B51B36}"/>
          </ac:cxnSpMkLst>
        </pc:cxnChg>
        <pc:cxnChg chg="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89" creationId="{64C590C8-32B4-4E38-AB77-426641C19FC5}"/>
          </ac:cxnSpMkLst>
        </pc:cxnChg>
        <pc:cxnChg chg="mod">
          <ac:chgData name="Quiros Araya, Gustavo (T RDA FOA AES-US)" userId="87a2443b-d0c9-4518-9ebc-d799baa37986" providerId="ADAL" clId="{8890887C-F27B-4EA1-B41C-91E3647CEAF0}" dt="2021-02-22T20:22:05.889" v="1409" actId="1076"/>
          <ac:cxnSpMkLst>
            <pc:docMk/>
            <pc:sldMk cId="1211210264" sldId="3194"/>
            <ac:cxnSpMk id="90" creationId="{80DDEA5D-3B23-4ED8-94D2-F6EB4F83CFCD}"/>
          </ac:cxnSpMkLst>
        </pc:cxnChg>
        <pc:cxnChg chg="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91" creationId="{5C75340D-9FED-4BDA-BA5A-F748CBA42BE7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92" creationId="{AFEC6D22-80B1-42E2-BB53-F4CDD9F5DF25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2:38.035" v="1411" actId="1076"/>
          <ac:cxnSpMkLst>
            <pc:docMk/>
            <pc:sldMk cId="1211210264" sldId="3194"/>
            <ac:cxnSpMk id="93" creationId="{B68DC66F-9DDC-40A7-B92C-84CA031FAE6D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2:40.891" v="1412" actId="1076"/>
          <ac:cxnSpMkLst>
            <pc:docMk/>
            <pc:sldMk cId="1211210264" sldId="3194"/>
            <ac:cxnSpMk id="94" creationId="{8DCF986E-5A72-4996-8F5B-C1972911D178}"/>
          </ac:cxnSpMkLst>
        </pc:cxnChg>
        <pc:cxnChg chg="del">
          <ac:chgData name="Quiros Araya, Gustavo (T RDA FOA AES-US)" userId="87a2443b-d0c9-4518-9ebc-d799baa37986" providerId="ADAL" clId="{8890887C-F27B-4EA1-B41C-91E3647CEAF0}" dt="2021-02-22T20:21:59.118" v="1408" actId="478"/>
          <ac:cxnSpMkLst>
            <pc:docMk/>
            <pc:sldMk cId="1211210264" sldId="3194"/>
            <ac:cxnSpMk id="95" creationId="{2FEB424C-021E-4235-B116-5973948A0F1D}"/>
          </ac:cxnSpMkLst>
        </pc:cxnChg>
        <pc:cxnChg chg="mod">
          <ac:chgData name="Quiros Araya, Gustavo (T RDA FOA AES-US)" userId="87a2443b-d0c9-4518-9ebc-d799baa37986" providerId="ADAL" clId="{8890887C-F27B-4EA1-B41C-91E3647CEAF0}" dt="2021-02-22T20:23:34.151" v="1417" actId="14100"/>
          <ac:cxnSpMkLst>
            <pc:docMk/>
            <pc:sldMk cId="1211210264" sldId="3194"/>
            <ac:cxnSpMk id="96" creationId="{AE4F5481-8E95-4421-8CE3-089CBEEEBFE6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2T20:22:46.523" v="1413" actId="1076"/>
          <ac:cxnSpMkLst>
            <pc:docMk/>
            <pc:sldMk cId="1211210264" sldId="3194"/>
            <ac:cxnSpMk id="97" creationId="{60E3EA58-CFB6-40C1-8AB1-F96F168F89D1}"/>
          </ac:cxnSpMkLst>
        </pc:cxnChg>
      </pc:sldChg>
      <pc:sldChg chg="add del">
        <pc:chgData name="Quiros Araya, Gustavo (T RDA FOA AES-US)" userId="87a2443b-d0c9-4518-9ebc-d799baa37986" providerId="ADAL" clId="{8890887C-F27B-4EA1-B41C-91E3647CEAF0}" dt="2021-02-22T20:04:41.436" v="1110"/>
        <pc:sldMkLst>
          <pc:docMk/>
          <pc:sldMk cId="3402421928" sldId="3194"/>
        </pc:sldMkLst>
      </pc:sldChg>
      <pc:sldChg chg="addSp modSp add del mod ord modShow">
        <pc:chgData name="Quiros Araya, Gustavo (T RDA FOA AES-US)" userId="87a2443b-d0c9-4518-9ebc-d799baa37986" providerId="ADAL" clId="{8890887C-F27B-4EA1-B41C-91E3647CEAF0}" dt="2021-02-23T05:13:55.135" v="3281" actId="47"/>
        <pc:sldMkLst>
          <pc:docMk/>
          <pc:sldMk cId="676940989" sldId="3195"/>
        </pc:sldMkLst>
        <pc:spChg chg="mod">
          <ac:chgData name="Quiros Araya, Gustavo (T RDA FOA AES-US)" userId="87a2443b-d0c9-4518-9ebc-d799baa37986" providerId="ADAL" clId="{8890887C-F27B-4EA1-B41C-91E3647CEAF0}" dt="2021-02-23T02:35:02.027" v="2264" actId="1035"/>
          <ac:spMkLst>
            <pc:docMk/>
            <pc:sldMk cId="676940989" sldId="3195"/>
            <ac:spMk id="98" creationId="{527E697B-F910-48A6-BCFF-0C9D5B7A8E1B}"/>
          </ac:spMkLst>
        </pc:spChg>
        <pc:cxnChg chg="add mod">
          <ac:chgData name="Quiros Araya, Gustavo (T RDA FOA AES-US)" userId="87a2443b-d0c9-4518-9ebc-d799baa37986" providerId="ADAL" clId="{8890887C-F27B-4EA1-B41C-91E3647CEAF0}" dt="2021-02-23T02:36:57.271" v="2319" actId="1076"/>
          <ac:cxnSpMkLst>
            <pc:docMk/>
            <pc:sldMk cId="676940989" sldId="3195"/>
            <ac:cxnSpMk id="39" creationId="{3A4E3280-6F3A-48E2-B222-92CE67A612AA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2:34:48.411" v="2255" actId="1076"/>
          <ac:cxnSpMkLst>
            <pc:docMk/>
            <pc:sldMk cId="676940989" sldId="3195"/>
            <ac:cxnSpMk id="40" creationId="{E5A33DC3-6877-4BD6-8B7C-C3762BE62944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38:04.056" v="2329" actId="1076"/>
          <ac:cxnSpMkLst>
            <pc:docMk/>
            <pc:sldMk cId="676940989" sldId="3195"/>
            <ac:cxnSpMk id="44" creationId="{9DDF1A24-6AF4-49D7-9002-B846218A445B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39:56.506" v="2355" actId="1076"/>
          <ac:cxnSpMkLst>
            <pc:docMk/>
            <pc:sldMk cId="676940989" sldId="3195"/>
            <ac:cxnSpMk id="56" creationId="{5E31C8E1-9280-4662-AF0B-2E2926258FBB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0:47.765" v="2367" actId="167"/>
          <ac:cxnSpMkLst>
            <pc:docMk/>
            <pc:sldMk cId="676940989" sldId="3195"/>
            <ac:cxnSpMk id="62" creationId="{B1B0B187-0378-4FE8-8D4C-7844C4E74E74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0:52.105" v="2368"/>
          <ac:cxnSpMkLst>
            <pc:docMk/>
            <pc:sldMk cId="676940989" sldId="3195"/>
            <ac:cxnSpMk id="63" creationId="{5E3C43CD-2913-4369-A772-9D0ECE4F1C97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0:55.002" v="2369"/>
          <ac:cxnSpMkLst>
            <pc:docMk/>
            <pc:sldMk cId="676940989" sldId="3195"/>
            <ac:cxnSpMk id="64" creationId="{D1AB1F46-EF4E-4291-9643-648FD6D2D9BF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0:57.090" v="2370"/>
          <ac:cxnSpMkLst>
            <pc:docMk/>
            <pc:sldMk cId="676940989" sldId="3195"/>
            <ac:cxnSpMk id="65" creationId="{E87D380A-2173-4D87-884A-EBA772453DE1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0:58.738" v="2371"/>
          <ac:cxnSpMkLst>
            <pc:docMk/>
            <pc:sldMk cId="676940989" sldId="3195"/>
            <ac:cxnSpMk id="66" creationId="{ACDCC065-8B20-4821-BFD8-5AECE0906F0E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44.893" v="2382" actId="167"/>
          <ac:cxnSpMkLst>
            <pc:docMk/>
            <pc:sldMk cId="676940989" sldId="3195"/>
            <ac:cxnSpMk id="67" creationId="{6D9BB5BC-5484-4488-9B0A-1A5B08B78199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44.893" v="2382" actId="167"/>
          <ac:cxnSpMkLst>
            <pc:docMk/>
            <pc:sldMk cId="676940989" sldId="3195"/>
            <ac:cxnSpMk id="68" creationId="{AD4BF9F8-1AEA-4359-A816-15C4A44E7D59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44.893" v="2382" actId="167"/>
          <ac:cxnSpMkLst>
            <pc:docMk/>
            <pc:sldMk cId="676940989" sldId="3195"/>
            <ac:cxnSpMk id="69" creationId="{53A341CC-B64B-498E-AC45-A12925A085ED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44.893" v="2382" actId="167"/>
          <ac:cxnSpMkLst>
            <pc:docMk/>
            <pc:sldMk cId="676940989" sldId="3195"/>
            <ac:cxnSpMk id="70" creationId="{AA3A84C5-9AED-49E1-8BA9-F2D1CDFF4966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44.893" v="2382" actId="167"/>
          <ac:cxnSpMkLst>
            <pc:docMk/>
            <pc:sldMk cId="676940989" sldId="3195"/>
            <ac:cxnSpMk id="71" creationId="{A19FFE4F-7E70-4A15-9311-184A0DD5342F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44.893" v="2382" actId="167"/>
          <ac:cxnSpMkLst>
            <pc:docMk/>
            <pc:sldMk cId="676940989" sldId="3195"/>
            <ac:cxnSpMk id="72" creationId="{FF089E60-7097-459D-BE7C-63AD94F2522E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31.724" v="2381" actId="167"/>
          <ac:cxnSpMkLst>
            <pc:docMk/>
            <pc:sldMk cId="676940989" sldId="3195"/>
            <ac:cxnSpMk id="73" creationId="{0083AB3E-FC63-45E6-9F72-728D39F67306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31.724" v="2381" actId="167"/>
          <ac:cxnSpMkLst>
            <pc:docMk/>
            <pc:sldMk cId="676940989" sldId="3195"/>
            <ac:cxnSpMk id="74" creationId="{84ABEB7E-531A-4A1C-B75B-087026C33857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31.724" v="2381" actId="167"/>
          <ac:cxnSpMkLst>
            <pc:docMk/>
            <pc:sldMk cId="676940989" sldId="3195"/>
            <ac:cxnSpMk id="75" creationId="{46333981-D809-4291-A4F2-2D35ACA8B98B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31.724" v="2381" actId="167"/>
          <ac:cxnSpMkLst>
            <pc:docMk/>
            <pc:sldMk cId="676940989" sldId="3195"/>
            <ac:cxnSpMk id="76" creationId="{DB69D985-BB89-48B9-B94C-D17017BEEB95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31.724" v="2381" actId="167"/>
          <ac:cxnSpMkLst>
            <pc:docMk/>
            <pc:sldMk cId="676940989" sldId="3195"/>
            <ac:cxnSpMk id="77" creationId="{48DD0C1D-B425-466E-916E-5307FF4963EE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2:42:31.724" v="2381" actId="167"/>
          <ac:cxnSpMkLst>
            <pc:docMk/>
            <pc:sldMk cId="676940989" sldId="3195"/>
            <ac:cxnSpMk id="78" creationId="{E340848E-9D3E-4A9E-84DC-9A6FE261FDE0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38:47.082" v="2340" actId="1076"/>
          <ac:cxnSpMkLst>
            <pc:docMk/>
            <pc:sldMk cId="676940989" sldId="3195"/>
            <ac:cxnSpMk id="86" creationId="{A7354BA4-B5ED-466D-88B0-C9E5E3C68623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38:52.137" v="2341" actId="1076"/>
          <ac:cxnSpMkLst>
            <pc:docMk/>
            <pc:sldMk cId="676940989" sldId="3195"/>
            <ac:cxnSpMk id="87" creationId="{12946227-349F-45F9-9AF0-E3D1CD4922C1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38:55.301" v="2342" actId="1076"/>
          <ac:cxnSpMkLst>
            <pc:docMk/>
            <pc:sldMk cId="676940989" sldId="3195"/>
            <ac:cxnSpMk id="88" creationId="{C68E224D-9965-4F4B-8A6B-E6F844B51B36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38:58.893" v="2343" actId="1076"/>
          <ac:cxnSpMkLst>
            <pc:docMk/>
            <pc:sldMk cId="676940989" sldId="3195"/>
            <ac:cxnSpMk id="89" creationId="{64C590C8-32B4-4E38-AB77-426641C19FC5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39:01.279" v="2344" actId="1076"/>
          <ac:cxnSpMkLst>
            <pc:docMk/>
            <pc:sldMk cId="676940989" sldId="3195"/>
            <ac:cxnSpMk id="90" creationId="{80DDEA5D-3B23-4ED8-94D2-F6EB4F83CFCD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34:26.314" v="2253" actId="1035"/>
          <ac:cxnSpMkLst>
            <pc:docMk/>
            <pc:sldMk cId="676940989" sldId="3195"/>
            <ac:cxnSpMk id="91" creationId="{5C75340D-9FED-4BDA-BA5A-F748CBA42BE7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34:26.314" v="2253" actId="1035"/>
          <ac:cxnSpMkLst>
            <pc:docMk/>
            <pc:sldMk cId="676940989" sldId="3195"/>
            <ac:cxnSpMk id="95" creationId="{2FEB424C-021E-4235-B116-5973948A0F1D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34:26.314" v="2253" actId="1035"/>
          <ac:cxnSpMkLst>
            <pc:docMk/>
            <pc:sldMk cId="676940989" sldId="3195"/>
            <ac:cxnSpMk id="96" creationId="{AE4F5481-8E95-4421-8CE3-089CBEEEBFE6}"/>
          </ac:cxnSpMkLst>
        </pc:cxnChg>
      </pc:sldChg>
      <pc:sldChg chg="addSp modSp add del mod ord modShow">
        <pc:chgData name="Quiros Araya, Gustavo (T RDA FOA AES-US)" userId="87a2443b-d0c9-4518-9ebc-d799baa37986" providerId="ADAL" clId="{8890887C-F27B-4EA1-B41C-91E3647CEAF0}" dt="2021-02-23T05:14:32.227" v="3283" actId="47"/>
        <pc:sldMkLst>
          <pc:docMk/>
          <pc:sldMk cId="1348494266" sldId="3196"/>
        </pc:sldMkLst>
        <pc:cxnChg chg="add mod">
          <ac:chgData name="Quiros Araya, Gustavo (T RDA FOA AES-US)" userId="87a2443b-d0c9-4518-9ebc-d799baa37986" providerId="ADAL" clId="{8890887C-F27B-4EA1-B41C-91E3647CEAF0}" dt="2021-02-23T02:45:33.779" v="2416" actId="1076"/>
          <ac:cxnSpMkLst>
            <pc:docMk/>
            <pc:sldMk cId="1348494266" sldId="3196"/>
            <ac:cxnSpMk id="39" creationId="{73468EF1-105E-4F33-9851-2CECE05E40F0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45:22.381" v="2414" actId="1038"/>
          <ac:cxnSpMkLst>
            <pc:docMk/>
            <pc:sldMk cId="1348494266" sldId="3196"/>
            <ac:cxnSpMk id="44" creationId="{9DDF1A24-6AF4-49D7-9002-B846218A445B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45:22.381" v="2414" actId="1038"/>
          <ac:cxnSpMkLst>
            <pc:docMk/>
            <pc:sldMk cId="1348494266" sldId="3196"/>
            <ac:cxnSpMk id="86" creationId="{A7354BA4-B5ED-466D-88B0-C9E5E3C68623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45:22.381" v="2414" actId="1038"/>
          <ac:cxnSpMkLst>
            <pc:docMk/>
            <pc:sldMk cId="1348494266" sldId="3196"/>
            <ac:cxnSpMk id="87" creationId="{12946227-349F-45F9-9AF0-E3D1CD4922C1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45:22.381" v="2414" actId="1038"/>
          <ac:cxnSpMkLst>
            <pc:docMk/>
            <pc:sldMk cId="1348494266" sldId="3196"/>
            <ac:cxnSpMk id="88" creationId="{C68E224D-9965-4F4B-8A6B-E6F844B51B36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45:22.381" v="2414" actId="1038"/>
          <ac:cxnSpMkLst>
            <pc:docMk/>
            <pc:sldMk cId="1348494266" sldId="3196"/>
            <ac:cxnSpMk id="89" creationId="{64C590C8-32B4-4E38-AB77-426641C19FC5}"/>
          </ac:cxnSpMkLst>
        </pc:cxnChg>
        <pc:cxnChg chg="mod">
          <ac:chgData name="Quiros Araya, Gustavo (T RDA FOA AES-US)" userId="87a2443b-d0c9-4518-9ebc-d799baa37986" providerId="ADAL" clId="{8890887C-F27B-4EA1-B41C-91E3647CEAF0}" dt="2021-02-23T02:45:22.381" v="2414" actId="1038"/>
          <ac:cxnSpMkLst>
            <pc:docMk/>
            <pc:sldMk cId="1348494266" sldId="3196"/>
            <ac:cxnSpMk id="90" creationId="{80DDEA5D-3B23-4ED8-94D2-F6EB4F83CFCD}"/>
          </ac:cxnSpMkLst>
        </pc:cxnChg>
      </pc:sldChg>
      <pc:sldChg chg="addSp delSp modSp add mod delCm">
        <pc:chgData name="Quiros Araya, Gustavo (T RDA FOA AES-US)" userId="87a2443b-d0c9-4518-9ebc-d799baa37986" providerId="ADAL" clId="{8890887C-F27B-4EA1-B41C-91E3647CEAF0}" dt="2021-02-23T05:16:11.568" v="3294" actId="1592"/>
        <pc:sldMkLst>
          <pc:docMk/>
          <pc:sldMk cId="4053279906" sldId="3197"/>
        </pc:sldMkLst>
        <pc:spChg chg="mod">
          <ac:chgData name="Quiros Araya, Gustavo (T RDA FOA AES-US)" userId="87a2443b-d0c9-4518-9ebc-d799baa37986" providerId="ADAL" clId="{8890887C-F27B-4EA1-B41C-91E3647CEAF0}" dt="2021-02-23T03:35:26.775" v="3057" actId="1076"/>
          <ac:spMkLst>
            <pc:docMk/>
            <pc:sldMk cId="4053279906" sldId="3197"/>
            <ac:spMk id="3" creationId="{95C387D4-7E7D-4669-8FE7-36AAE4110A2B}"/>
          </ac:spMkLst>
        </pc:spChg>
        <pc:spChg chg="mod">
          <ac:chgData name="Quiros Araya, Gustavo (T RDA FOA AES-US)" userId="87a2443b-d0c9-4518-9ebc-d799baa37986" providerId="ADAL" clId="{8890887C-F27B-4EA1-B41C-91E3647CEAF0}" dt="2021-02-23T03:33:10.025" v="2992" actId="1076"/>
          <ac:spMkLst>
            <pc:docMk/>
            <pc:sldMk cId="4053279906" sldId="3197"/>
            <ac:spMk id="5" creationId="{815798DF-4FC6-42B2-A852-017E1511FA77}"/>
          </ac:spMkLst>
        </pc:spChg>
        <pc:spChg chg="del">
          <ac:chgData name="Quiros Araya, Gustavo (T RDA FOA AES-US)" userId="87a2443b-d0c9-4518-9ebc-d799baa37986" providerId="ADAL" clId="{8890887C-F27B-4EA1-B41C-91E3647CEAF0}" dt="2021-02-23T02:50:15.779" v="2434" actId="478"/>
          <ac:spMkLst>
            <pc:docMk/>
            <pc:sldMk cId="4053279906" sldId="3197"/>
            <ac:spMk id="6" creationId="{23264EB9-91D1-4902-BB24-9E0F324E9451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20:20.592" v="2834" actId="164"/>
          <ac:spMkLst>
            <pc:docMk/>
            <pc:sldMk cId="4053279906" sldId="3197"/>
            <ac:spMk id="7" creationId="{69F55DE7-616B-410D-8A59-073B06EF8031}"/>
          </ac:spMkLst>
        </pc:spChg>
        <pc:spChg chg="mod">
          <ac:chgData name="Quiros Araya, Gustavo (T RDA FOA AES-US)" userId="87a2443b-d0c9-4518-9ebc-d799baa37986" providerId="ADAL" clId="{8890887C-F27B-4EA1-B41C-91E3647CEAF0}" dt="2021-02-23T03:35:22.266" v="3055" actId="1038"/>
          <ac:spMkLst>
            <pc:docMk/>
            <pc:sldMk cId="4053279906" sldId="3197"/>
            <ac:spMk id="15" creationId="{11558BE4-D551-4DF1-8C9A-45AB34EDAF72}"/>
          </ac:spMkLst>
        </pc:spChg>
        <pc:spChg chg="mod">
          <ac:chgData name="Quiros Araya, Gustavo (T RDA FOA AES-US)" userId="87a2443b-d0c9-4518-9ebc-d799baa37986" providerId="ADAL" clId="{8890887C-F27B-4EA1-B41C-91E3647CEAF0}" dt="2021-02-23T03:35:39.211" v="3074" actId="1035"/>
          <ac:spMkLst>
            <pc:docMk/>
            <pc:sldMk cId="4053279906" sldId="3197"/>
            <ac:spMk id="16" creationId="{A2232D69-6F56-430E-8594-208BEA6D0D95}"/>
          </ac:spMkLst>
        </pc:spChg>
        <pc:spChg chg="mod">
          <ac:chgData name="Quiros Araya, Gustavo (T RDA FOA AES-US)" userId="87a2443b-d0c9-4518-9ebc-d799baa37986" providerId="ADAL" clId="{8890887C-F27B-4EA1-B41C-91E3647CEAF0}" dt="2021-02-23T03:35:48.799" v="3075" actId="1076"/>
          <ac:spMkLst>
            <pc:docMk/>
            <pc:sldMk cId="4053279906" sldId="3197"/>
            <ac:spMk id="17" creationId="{57DD1D51-1EA8-44D5-9DD8-0268CCB08F56}"/>
          </ac:spMkLst>
        </pc:spChg>
        <pc:spChg chg="mod">
          <ac:chgData name="Quiros Araya, Gustavo (T RDA FOA AES-US)" userId="87a2443b-d0c9-4518-9ebc-d799baa37986" providerId="ADAL" clId="{8890887C-F27B-4EA1-B41C-91E3647CEAF0}" dt="2021-02-23T03:35:33.313" v="3069" actId="1036"/>
          <ac:spMkLst>
            <pc:docMk/>
            <pc:sldMk cId="4053279906" sldId="3197"/>
            <ac:spMk id="18" creationId="{9024B9A4-91FE-471C-A0B6-106AD3D0FDF6}"/>
          </ac:spMkLst>
        </pc:spChg>
        <pc:spChg chg="mod">
          <ac:chgData name="Quiros Araya, Gustavo (T RDA FOA AES-US)" userId="87a2443b-d0c9-4518-9ebc-d799baa37986" providerId="ADAL" clId="{8890887C-F27B-4EA1-B41C-91E3647CEAF0}" dt="2021-02-23T03:35:33.313" v="3069" actId="1036"/>
          <ac:spMkLst>
            <pc:docMk/>
            <pc:sldMk cId="4053279906" sldId="3197"/>
            <ac:spMk id="19" creationId="{850B72CC-F32C-4128-8268-7FA61A02EBAB}"/>
          </ac:spMkLst>
        </pc:spChg>
        <pc:spChg chg="mod">
          <ac:chgData name="Quiros Araya, Gustavo (T RDA FOA AES-US)" userId="87a2443b-d0c9-4518-9ebc-d799baa37986" providerId="ADAL" clId="{8890887C-F27B-4EA1-B41C-91E3647CEAF0}" dt="2021-02-23T03:35:39.211" v="3074" actId="1035"/>
          <ac:spMkLst>
            <pc:docMk/>
            <pc:sldMk cId="4053279906" sldId="3197"/>
            <ac:spMk id="20" creationId="{F8BC4713-20BE-4322-8AD3-51D7251A2F0D}"/>
          </ac:spMkLst>
        </pc:spChg>
        <pc:spChg chg="mod">
          <ac:chgData name="Quiros Araya, Gustavo (T RDA FOA AES-US)" userId="87a2443b-d0c9-4518-9ebc-d799baa37986" providerId="ADAL" clId="{8890887C-F27B-4EA1-B41C-91E3647CEAF0}" dt="2021-02-23T03:35:22.266" v="3055" actId="1038"/>
          <ac:spMkLst>
            <pc:docMk/>
            <pc:sldMk cId="4053279906" sldId="3197"/>
            <ac:spMk id="21" creationId="{81AE2AA0-F26A-4339-AC10-BFEB834A88E8}"/>
          </ac:spMkLst>
        </pc:spChg>
        <pc:spChg chg="mod">
          <ac:chgData name="Quiros Araya, Gustavo (T RDA FOA AES-US)" userId="87a2443b-d0c9-4518-9ebc-d799baa37986" providerId="ADAL" clId="{8890887C-F27B-4EA1-B41C-91E3647CEAF0}" dt="2021-02-23T03:35:22.266" v="3055" actId="1038"/>
          <ac:spMkLst>
            <pc:docMk/>
            <pc:sldMk cId="4053279906" sldId="3197"/>
            <ac:spMk id="22" creationId="{8BD366B9-3449-4997-B249-446F910AFA8D}"/>
          </ac:spMkLst>
        </pc:spChg>
        <pc:spChg chg="del mod">
          <ac:chgData name="Quiros Araya, Gustavo (T RDA FOA AES-US)" userId="87a2443b-d0c9-4518-9ebc-d799baa37986" providerId="ADAL" clId="{8890887C-F27B-4EA1-B41C-91E3647CEAF0}" dt="2021-02-23T03:12:18.146" v="2751" actId="478"/>
          <ac:spMkLst>
            <pc:docMk/>
            <pc:sldMk cId="4053279906" sldId="3197"/>
            <ac:spMk id="23" creationId="{67A843C8-FB40-412F-AA08-08E5A17D5514}"/>
          </ac:spMkLst>
        </pc:spChg>
        <pc:spChg chg="del">
          <ac:chgData name="Quiros Araya, Gustavo (T RDA FOA AES-US)" userId="87a2443b-d0c9-4518-9ebc-d799baa37986" providerId="ADAL" clId="{8890887C-F27B-4EA1-B41C-91E3647CEAF0}" dt="2021-02-23T03:12:26.495" v="2757" actId="478"/>
          <ac:spMkLst>
            <pc:docMk/>
            <pc:sldMk cId="4053279906" sldId="3197"/>
            <ac:spMk id="24" creationId="{7A3AC743-44AB-4ED8-8DD0-5D8F64FC3643}"/>
          </ac:spMkLst>
        </pc:spChg>
        <pc:spChg chg="mod">
          <ac:chgData name="Quiros Araya, Gustavo (T RDA FOA AES-US)" userId="87a2443b-d0c9-4518-9ebc-d799baa37986" providerId="ADAL" clId="{8890887C-F27B-4EA1-B41C-91E3647CEAF0}" dt="2021-02-23T03:34:23.037" v="3032" actId="1076"/>
          <ac:spMkLst>
            <pc:docMk/>
            <pc:sldMk cId="4053279906" sldId="3197"/>
            <ac:spMk id="25" creationId="{E8439169-B699-45E5-827E-E45A1DAAB28C}"/>
          </ac:spMkLst>
        </pc:spChg>
        <pc:spChg chg="del">
          <ac:chgData name="Quiros Araya, Gustavo (T RDA FOA AES-US)" userId="87a2443b-d0c9-4518-9ebc-d799baa37986" providerId="ADAL" clId="{8890887C-F27B-4EA1-B41C-91E3647CEAF0}" dt="2021-02-23T03:12:25.005" v="2756" actId="478"/>
          <ac:spMkLst>
            <pc:docMk/>
            <pc:sldMk cId="4053279906" sldId="3197"/>
            <ac:spMk id="26" creationId="{4882313A-1426-433A-9872-BF778FFF055E}"/>
          </ac:spMkLst>
        </pc:spChg>
        <pc:spChg chg="del">
          <ac:chgData name="Quiros Araya, Gustavo (T RDA FOA AES-US)" userId="87a2443b-d0c9-4518-9ebc-d799baa37986" providerId="ADAL" clId="{8890887C-F27B-4EA1-B41C-91E3647CEAF0}" dt="2021-02-23T03:12:16.795" v="2750" actId="478"/>
          <ac:spMkLst>
            <pc:docMk/>
            <pc:sldMk cId="4053279906" sldId="3197"/>
            <ac:spMk id="27" creationId="{D4F1D2C3-1DED-4E32-9D11-24FC2F55B26D}"/>
          </ac:spMkLst>
        </pc:spChg>
        <pc:spChg chg="del">
          <ac:chgData name="Quiros Araya, Gustavo (T RDA FOA AES-US)" userId="87a2443b-d0c9-4518-9ebc-d799baa37986" providerId="ADAL" clId="{8890887C-F27B-4EA1-B41C-91E3647CEAF0}" dt="2021-02-23T03:12:18.992" v="2752" actId="478"/>
          <ac:spMkLst>
            <pc:docMk/>
            <pc:sldMk cId="4053279906" sldId="3197"/>
            <ac:spMk id="28" creationId="{E91307D2-A69E-42CA-B957-F74F18334E29}"/>
          </ac:spMkLst>
        </pc:spChg>
        <pc:spChg chg="mod">
          <ac:chgData name="Quiros Araya, Gustavo (T RDA FOA AES-US)" userId="87a2443b-d0c9-4518-9ebc-d799baa37986" providerId="ADAL" clId="{8890887C-F27B-4EA1-B41C-91E3647CEAF0}" dt="2021-02-23T03:35:39.211" v="3074" actId="1035"/>
          <ac:spMkLst>
            <pc:docMk/>
            <pc:sldMk cId="4053279906" sldId="3197"/>
            <ac:spMk id="29" creationId="{5CCE7EED-9946-4E2B-B169-1CD4C0F04181}"/>
          </ac:spMkLst>
        </pc:spChg>
        <pc:spChg chg="del">
          <ac:chgData name="Quiros Araya, Gustavo (T RDA FOA AES-US)" userId="87a2443b-d0c9-4518-9ebc-d799baa37986" providerId="ADAL" clId="{8890887C-F27B-4EA1-B41C-91E3647CEAF0}" dt="2021-02-23T03:12:23.238" v="2755" actId="478"/>
          <ac:spMkLst>
            <pc:docMk/>
            <pc:sldMk cId="4053279906" sldId="3197"/>
            <ac:spMk id="30" creationId="{6F13CEB7-D271-4253-88CB-A35014EA727C}"/>
          </ac:spMkLst>
        </pc:spChg>
        <pc:spChg chg="mod">
          <ac:chgData name="Quiros Araya, Gustavo (T RDA FOA AES-US)" userId="87a2443b-d0c9-4518-9ebc-d799baa37986" providerId="ADAL" clId="{8890887C-F27B-4EA1-B41C-91E3647CEAF0}" dt="2021-02-23T03:35:22.266" v="3055" actId="1038"/>
          <ac:spMkLst>
            <pc:docMk/>
            <pc:sldMk cId="4053279906" sldId="3197"/>
            <ac:spMk id="31" creationId="{0B35027F-098B-47F8-9530-700C2420EFEF}"/>
          </ac:spMkLst>
        </pc:spChg>
        <pc:spChg chg="mod">
          <ac:chgData name="Quiros Araya, Gustavo (T RDA FOA AES-US)" userId="87a2443b-d0c9-4518-9ebc-d799baa37986" providerId="ADAL" clId="{8890887C-F27B-4EA1-B41C-91E3647CEAF0}" dt="2021-02-23T03:35:22.266" v="3055" actId="1038"/>
          <ac:spMkLst>
            <pc:docMk/>
            <pc:sldMk cId="4053279906" sldId="3197"/>
            <ac:spMk id="32" creationId="{E8EFB443-9C22-4CC4-84AF-FE30C20DA701}"/>
          </ac:spMkLst>
        </pc:spChg>
        <pc:spChg chg="mod">
          <ac:chgData name="Quiros Araya, Gustavo (T RDA FOA AES-US)" userId="87a2443b-d0c9-4518-9ebc-d799baa37986" providerId="ADAL" clId="{8890887C-F27B-4EA1-B41C-91E3647CEAF0}" dt="2021-02-23T03:33:10.025" v="2992" actId="1076"/>
          <ac:spMkLst>
            <pc:docMk/>
            <pc:sldMk cId="4053279906" sldId="3197"/>
            <ac:spMk id="34" creationId="{4E4B93AE-E3FA-4D84-B9AA-1C6327320283}"/>
          </ac:spMkLst>
        </pc:spChg>
        <pc:spChg chg="mod">
          <ac:chgData name="Quiros Araya, Gustavo (T RDA FOA AES-US)" userId="87a2443b-d0c9-4518-9ebc-d799baa37986" providerId="ADAL" clId="{8890887C-F27B-4EA1-B41C-91E3647CEAF0}" dt="2021-02-23T03:33:10.025" v="2992" actId="1076"/>
          <ac:spMkLst>
            <pc:docMk/>
            <pc:sldMk cId="4053279906" sldId="3197"/>
            <ac:spMk id="35" creationId="{135329E5-52A6-4157-9D38-59E66ED57095}"/>
          </ac:spMkLst>
        </pc:spChg>
        <pc:spChg chg="mod">
          <ac:chgData name="Quiros Araya, Gustavo (T RDA FOA AES-US)" userId="87a2443b-d0c9-4518-9ebc-d799baa37986" providerId="ADAL" clId="{8890887C-F27B-4EA1-B41C-91E3647CEAF0}" dt="2021-02-23T03:34:02.209" v="3029" actId="1076"/>
          <ac:spMkLst>
            <pc:docMk/>
            <pc:sldMk cId="4053279906" sldId="3197"/>
            <ac:spMk id="36" creationId="{182E70A5-DCFF-41DD-A1B8-775D3FCA26FA}"/>
          </ac:spMkLst>
        </pc:spChg>
        <pc:spChg chg="mod">
          <ac:chgData name="Quiros Araya, Gustavo (T RDA FOA AES-US)" userId="87a2443b-d0c9-4518-9ebc-d799baa37986" providerId="ADAL" clId="{8890887C-F27B-4EA1-B41C-91E3647CEAF0}" dt="2021-02-23T03:33:10.025" v="2992" actId="1076"/>
          <ac:spMkLst>
            <pc:docMk/>
            <pc:sldMk cId="4053279906" sldId="3197"/>
            <ac:spMk id="37" creationId="{01C34A9F-0520-489E-9717-7870DF712AC3}"/>
          </ac:spMkLst>
        </pc:spChg>
        <pc:spChg chg="mod">
          <ac:chgData name="Quiros Araya, Gustavo (T RDA FOA AES-US)" userId="87a2443b-d0c9-4518-9ebc-d799baa37986" providerId="ADAL" clId="{8890887C-F27B-4EA1-B41C-91E3647CEAF0}" dt="2021-02-23T03:33:10.025" v="2992" actId="1076"/>
          <ac:spMkLst>
            <pc:docMk/>
            <pc:sldMk cId="4053279906" sldId="3197"/>
            <ac:spMk id="38" creationId="{94050B0A-FCEC-4B59-BFF6-83B5B6C65A66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0.648" v="2734" actId="478"/>
          <ac:spMkLst>
            <pc:docMk/>
            <pc:sldMk cId="4053279906" sldId="3197"/>
            <ac:spMk id="51" creationId="{F0BD3B0A-9B6C-4A55-9998-5C75BE6D95E8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1.276" v="2735" actId="478"/>
          <ac:spMkLst>
            <pc:docMk/>
            <pc:sldMk cId="4053279906" sldId="3197"/>
            <ac:spMk id="53" creationId="{C572C0C9-714B-4F08-AA71-0DA0B44190E7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01:37.846" v="2604" actId="478"/>
          <ac:spMkLst>
            <pc:docMk/>
            <pc:sldMk cId="4053279906" sldId="3197"/>
            <ac:spMk id="54" creationId="{3FD557EC-3F7A-4E39-B3BE-736D38D3FE54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2.223" v="2736" actId="478"/>
          <ac:spMkLst>
            <pc:docMk/>
            <pc:sldMk cId="4053279906" sldId="3197"/>
            <ac:spMk id="55" creationId="{175A86FB-01C1-4448-8BFC-0BD9208DB246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2.380" v="2737" actId="478"/>
          <ac:spMkLst>
            <pc:docMk/>
            <pc:sldMk cId="4053279906" sldId="3197"/>
            <ac:spMk id="56" creationId="{E824CF55-B567-4116-BC04-18165AF260DE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6.070" v="2740" actId="478"/>
          <ac:spMkLst>
            <pc:docMk/>
            <pc:sldMk cId="4053279906" sldId="3197"/>
            <ac:spMk id="58" creationId="{8828A7EC-1DB4-437F-A0DB-8E42DD937E86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02:05.514" v="2611" actId="478"/>
          <ac:spMkLst>
            <pc:docMk/>
            <pc:sldMk cId="4053279906" sldId="3197"/>
            <ac:spMk id="59" creationId="{14EA9BAB-5CA3-46BF-9005-EC2B1B12EEAA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6.828" v="2741" actId="478"/>
          <ac:spMkLst>
            <pc:docMk/>
            <pc:sldMk cId="4053279906" sldId="3197"/>
            <ac:spMk id="61" creationId="{7AE0DBD2-738C-432A-87D4-C1BAB3A9E853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8.073" v="2742" actId="478"/>
          <ac:spMkLst>
            <pc:docMk/>
            <pc:sldMk cId="4053279906" sldId="3197"/>
            <ac:spMk id="62" creationId="{53ACF5FC-1DE0-4003-B213-E72DDFCC65DC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8.813" v="2743" actId="478"/>
          <ac:spMkLst>
            <pc:docMk/>
            <pc:sldMk cId="4053279906" sldId="3197"/>
            <ac:spMk id="63" creationId="{EAFBC1B0-B383-4614-971A-5DB24BC69960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02:12.042" v="2615" actId="478"/>
          <ac:spMkLst>
            <pc:docMk/>
            <pc:sldMk cId="4053279906" sldId="3197"/>
            <ac:spMk id="64" creationId="{BF3FFED9-94C9-436B-AC51-52F4E36C22B6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02:13.415" v="2616" actId="478"/>
          <ac:spMkLst>
            <pc:docMk/>
            <pc:sldMk cId="4053279906" sldId="3197"/>
            <ac:spMk id="65" creationId="{D8285B7D-BF47-4421-8A26-8DB74425F4ED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30.053" v="2744" actId="478"/>
          <ac:spMkLst>
            <pc:docMk/>
            <pc:sldMk cId="4053279906" sldId="3197"/>
            <ac:spMk id="66" creationId="{0C4810E8-FACF-4A6E-BCDE-402AD6D2366B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30.922" v="2745" actId="478"/>
          <ac:spMkLst>
            <pc:docMk/>
            <pc:sldMk cId="4053279906" sldId="3197"/>
            <ac:spMk id="68" creationId="{51A0359A-CE99-446D-A554-712533FE05A5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5.655" v="2739" actId="478"/>
          <ac:spMkLst>
            <pc:docMk/>
            <pc:sldMk cId="4053279906" sldId="3197"/>
            <ac:spMk id="69" creationId="{2E3B1B19-2D14-4AD8-BC45-2552C241524E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11:24.286" v="2738" actId="478"/>
          <ac:spMkLst>
            <pc:docMk/>
            <pc:sldMk cId="4053279906" sldId="3197"/>
            <ac:spMk id="71" creationId="{1DC3CDE2-F234-4C29-9162-503F5D805907}"/>
          </ac:spMkLst>
        </pc:spChg>
        <pc:spChg chg="del">
          <ac:chgData name="Quiros Araya, Gustavo (T RDA FOA AES-US)" userId="87a2443b-d0c9-4518-9ebc-d799baa37986" providerId="ADAL" clId="{8890887C-F27B-4EA1-B41C-91E3647CEAF0}" dt="2021-02-23T02:50:14.571" v="2433" actId="478"/>
          <ac:spMkLst>
            <pc:docMk/>
            <pc:sldMk cId="4053279906" sldId="3197"/>
            <ac:spMk id="98" creationId="{527E697B-F910-48A6-BCFF-0C9D5B7A8E1B}"/>
          </ac:spMkLst>
        </pc:spChg>
        <pc:spChg chg="add mod ord">
          <ac:chgData name="Quiros Araya, Gustavo (T RDA FOA AES-US)" userId="87a2443b-d0c9-4518-9ebc-d799baa37986" providerId="ADAL" clId="{8890887C-F27B-4EA1-B41C-91E3647CEAF0}" dt="2021-02-23T03:33:53.134" v="3028" actId="1035"/>
          <ac:spMkLst>
            <pc:docMk/>
            <pc:sldMk cId="4053279906" sldId="3197"/>
            <ac:spMk id="111" creationId="{ACDF45DC-2203-46AA-BF40-884743A1EF53}"/>
          </ac:spMkLst>
        </pc:spChg>
        <pc:spChg chg="add mod ord">
          <ac:chgData name="Quiros Araya, Gustavo (T RDA FOA AES-US)" userId="87a2443b-d0c9-4518-9ebc-d799baa37986" providerId="ADAL" clId="{8890887C-F27B-4EA1-B41C-91E3647CEAF0}" dt="2021-02-23T03:33:53.134" v="3028" actId="1035"/>
          <ac:spMkLst>
            <pc:docMk/>
            <pc:sldMk cId="4053279906" sldId="3197"/>
            <ac:spMk id="112" creationId="{33843B2E-E8AB-4987-B883-1909F4E4116E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20:23.103" v="2835" actId="478"/>
          <ac:spMkLst>
            <pc:docMk/>
            <pc:sldMk cId="4053279906" sldId="3197"/>
            <ac:spMk id="126" creationId="{8B2FC399-880C-47FB-B5F9-137AC2E656A8}"/>
          </ac:spMkLst>
        </pc:spChg>
        <pc:spChg chg="add del mod">
          <ac:chgData name="Quiros Araya, Gustavo (T RDA FOA AES-US)" userId="87a2443b-d0c9-4518-9ebc-d799baa37986" providerId="ADAL" clId="{8890887C-F27B-4EA1-B41C-91E3647CEAF0}" dt="2021-02-23T03:21:18.039" v="2844" actId="478"/>
          <ac:spMkLst>
            <pc:docMk/>
            <pc:sldMk cId="4053279906" sldId="3197"/>
            <ac:spMk id="131" creationId="{DF8E4D4F-1FE8-4979-BAD3-ADE7CE218B92}"/>
          </ac:spMkLst>
        </pc:spChg>
        <pc:spChg chg="add mod ord">
          <ac:chgData name="Quiros Araya, Gustavo (T RDA FOA AES-US)" userId="87a2443b-d0c9-4518-9ebc-d799baa37986" providerId="ADAL" clId="{8890887C-F27B-4EA1-B41C-91E3647CEAF0}" dt="2021-02-23T03:17:50.546" v="2807" actId="164"/>
          <ac:spMkLst>
            <pc:docMk/>
            <pc:sldMk cId="4053279906" sldId="3197"/>
            <ac:spMk id="141" creationId="{C60EBE35-7BDE-4D74-BFE0-A557375CBB20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20:20.592" v="2834" actId="164"/>
          <ac:spMkLst>
            <pc:docMk/>
            <pc:sldMk cId="4053279906" sldId="3197"/>
            <ac:spMk id="144" creationId="{288F4D0A-F591-40F2-8422-6D19D5963CEB}"/>
          </ac:spMkLst>
        </pc:spChg>
        <pc:spChg chg="mod">
          <ac:chgData name="Quiros Araya, Gustavo (T RDA FOA AES-US)" userId="87a2443b-d0c9-4518-9ebc-d799baa37986" providerId="ADAL" clId="{8890887C-F27B-4EA1-B41C-91E3647CEAF0}" dt="2021-02-23T03:20:25.700" v="2836"/>
          <ac:spMkLst>
            <pc:docMk/>
            <pc:sldMk cId="4053279906" sldId="3197"/>
            <ac:spMk id="149" creationId="{67148C74-E8C9-45D9-9019-09139C029C5C}"/>
          </ac:spMkLst>
        </pc:spChg>
        <pc:spChg chg="mod">
          <ac:chgData name="Quiros Araya, Gustavo (T RDA FOA AES-US)" userId="87a2443b-d0c9-4518-9ebc-d799baa37986" providerId="ADAL" clId="{8890887C-F27B-4EA1-B41C-91E3647CEAF0}" dt="2021-02-23T03:20:25.700" v="2836"/>
          <ac:spMkLst>
            <pc:docMk/>
            <pc:sldMk cId="4053279906" sldId="3197"/>
            <ac:spMk id="150" creationId="{3D351F9B-87AB-4BE1-BBB7-3790A9BD21DE}"/>
          </ac:spMkLst>
        </pc:spChg>
        <pc:spChg chg="mod">
          <ac:chgData name="Quiros Araya, Gustavo (T RDA FOA AES-US)" userId="87a2443b-d0c9-4518-9ebc-d799baa37986" providerId="ADAL" clId="{8890887C-F27B-4EA1-B41C-91E3647CEAF0}" dt="2021-02-23T03:21:20.547" v="2845"/>
          <ac:spMkLst>
            <pc:docMk/>
            <pc:sldMk cId="4053279906" sldId="3197"/>
            <ac:spMk id="156" creationId="{46543335-0AAA-4A60-A4BB-C0549E80D3B7}"/>
          </ac:spMkLst>
        </pc:spChg>
        <pc:spChg chg="mod">
          <ac:chgData name="Quiros Araya, Gustavo (T RDA FOA AES-US)" userId="87a2443b-d0c9-4518-9ebc-d799baa37986" providerId="ADAL" clId="{8890887C-F27B-4EA1-B41C-91E3647CEAF0}" dt="2021-02-23T03:21:20.547" v="2845"/>
          <ac:spMkLst>
            <pc:docMk/>
            <pc:sldMk cId="4053279906" sldId="3197"/>
            <ac:spMk id="157" creationId="{BD0B2E5B-08AD-4FCE-BA9F-4CCBF1551B99}"/>
          </ac:spMkLst>
        </pc:spChg>
        <pc:spChg chg="mod">
          <ac:chgData name="Quiros Araya, Gustavo (T RDA FOA AES-US)" userId="87a2443b-d0c9-4518-9ebc-d799baa37986" providerId="ADAL" clId="{8890887C-F27B-4EA1-B41C-91E3647CEAF0}" dt="2021-02-23T03:22:00.529" v="2849"/>
          <ac:spMkLst>
            <pc:docMk/>
            <pc:sldMk cId="4053279906" sldId="3197"/>
            <ac:spMk id="160" creationId="{D6C8F45A-3186-47F5-9591-8E432CC9E4F4}"/>
          </ac:spMkLst>
        </pc:spChg>
        <pc:spChg chg="mod">
          <ac:chgData name="Quiros Araya, Gustavo (T RDA FOA AES-US)" userId="87a2443b-d0c9-4518-9ebc-d799baa37986" providerId="ADAL" clId="{8890887C-F27B-4EA1-B41C-91E3647CEAF0}" dt="2021-02-23T03:22:00.529" v="2849"/>
          <ac:spMkLst>
            <pc:docMk/>
            <pc:sldMk cId="4053279906" sldId="3197"/>
            <ac:spMk id="161" creationId="{5817228B-1FF0-48AF-AC3C-C79186AADCDA}"/>
          </ac:spMkLst>
        </pc:spChg>
        <pc:spChg chg="mod">
          <ac:chgData name="Quiros Araya, Gustavo (T RDA FOA AES-US)" userId="87a2443b-d0c9-4518-9ebc-d799baa37986" providerId="ADAL" clId="{8890887C-F27B-4EA1-B41C-91E3647CEAF0}" dt="2021-02-23T03:22:31.235" v="2856"/>
          <ac:spMkLst>
            <pc:docMk/>
            <pc:sldMk cId="4053279906" sldId="3197"/>
            <ac:spMk id="167" creationId="{39F6265F-F7AB-4CFE-8204-6BEF84B259E4}"/>
          </ac:spMkLst>
        </pc:spChg>
        <pc:spChg chg="mod">
          <ac:chgData name="Quiros Araya, Gustavo (T RDA FOA AES-US)" userId="87a2443b-d0c9-4518-9ebc-d799baa37986" providerId="ADAL" clId="{8890887C-F27B-4EA1-B41C-91E3647CEAF0}" dt="2021-02-23T03:22:31.235" v="2856"/>
          <ac:spMkLst>
            <pc:docMk/>
            <pc:sldMk cId="4053279906" sldId="3197"/>
            <ac:spMk id="168" creationId="{9D4BBFEA-FD8A-4441-BD42-3C0B5240401A}"/>
          </ac:spMkLst>
        </pc:spChg>
        <pc:spChg chg="mod">
          <ac:chgData name="Quiros Araya, Gustavo (T RDA FOA AES-US)" userId="87a2443b-d0c9-4518-9ebc-d799baa37986" providerId="ADAL" clId="{8890887C-F27B-4EA1-B41C-91E3647CEAF0}" dt="2021-02-23T03:23:11.549" v="2866"/>
          <ac:spMkLst>
            <pc:docMk/>
            <pc:sldMk cId="4053279906" sldId="3197"/>
            <ac:spMk id="175" creationId="{A41B05BB-0DDC-4E9E-ADEF-AC1ECC912725}"/>
          </ac:spMkLst>
        </pc:spChg>
        <pc:spChg chg="mod">
          <ac:chgData name="Quiros Araya, Gustavo (T RDA FOA AES-US)" userId="87a2443b-d0c9-4518-9ebc-d799baa37986" providerId="ADAL" clId="{8890887C-F27B-4EA1-B41C-91E3647CEAF0}" dt="2021-02-23T03:23:11.549" v="2866"/>
          <ac:spMkLst>
            <pc:docMk/>
            <pc:sldMk cId="4053279906" sldId="3197"/>
            <ac:spMk id="176" creationId="{4DE69658-A5BE-4442-AC74-C1CA197F179A}"/>
          </ac:spMkLst>
        </pc:spChg>
        <pc:spChg chg="mod">
          <ac:chgData name="Quiros Araya, Gustavo (T RDA FOA AES-US)" userId="87a2443b-d0c9-4518-9ebc-d799baa37986" providerId="ADAL" clId="{8890887C-F27B-4EA1-B41C-91E3647CEAF0}" dt="2021-02-23T03:23:39.762" v="2871"/>
          <ac:spMkLst>
            <pc:docMk/>
            <pc:sldMk cId="4053279906" sldId="3197"/>
            <ac:spMk id="181" creationId="{FAC87D99-9938-4038-A8E7-F4F277218BF8}"/>
          </ac:spMkLst>
        </pc:spChg>
        <pc:spChg chg="mod">
          <ac:chgData name="Quiros Araya, Gustavo (T RDA FOA AES-US)" userId="87a2443b-d0c9-4518-9ebc-d799baa37986" providerId="ADAL" clId="{8890887C-F27B-4EA1-B41C-91E3647CEAF0}" dt="2021-02-23T03:23:39.762" v="2871"/>
          <ac:spMkLst>
            <pc:docMk/>
            <pc:sldMk cId="4053279906" sldId="3197"/>
            <ac:spMk id="182" creationId="{1F2B2C08-884D-4CA1-8203-DFEB1C344097}"/>
          </ac:spMkLst>
        </pc:spChg>
        <pc:spChg chg="mod">
          <ac:chgData name="Quiros Araya, Gustavo (T RDA FOA AES-US)" userId="87a2443b-d0c9-4518-9ebc-d799baa37986" providerId="ADAL" clId="{8890887C-F27B-4EA1-B41C-91E3647CEAF0}" dt="2021-02-23T03:24:25.230" v="2881"/>
          <ac:spMkLst>
            <pc:docMk/>
            <pc:sldMk cId="4053279906" sldId="3197"/>
            <ac:spMk id="189" creationId="{DE49B8C5-0049-40A8-9615-A093D129E93B}"/>
          </ac:spMkLst>
        </pc:spChg>
        <pc:spChg chg="mod">
          <ac:chgData name="Quiros Araya, Gustavo (T RDA FOA AES-US)" userId="87a2443b-d0c9-4518-9ebc-d799baa37986" providerId="ADAL" clId="{8890887C-F27B-4EA1-B41C-91E3647CEAF0}" dt="2021-02-23T03:24:25.230" v="2881"/>
          <ac:spMkLst>
            <pc:docMk/>
            <pc:sldMk cId="4053279906" sldId="3197"/>
            <ac:spMk id="190" creationId="{373865D6-0651-47D9-A615-3EF81A01FB4B}"/>
          </ac:spMkLst>
        </pc:spChg>
        <pc:spChg chg="mod">
          <ac:chgData name="Quiros Araya, Gustavo (T RDA FOA AES-US)" userId="87a2443b-d0c9-4518-9ebc-d799baa37986" providerId="ADAL" clId="{8890887C-F27B-4EA1-B41C-91E3647CEAF0}" dt="2021-02-23T03:26:21.597" v="2897"/>
          <ac:spMkLst>
            <pc:docMk/>
            <pc:sldMk cId="4053279906" sldId="3197"/>
            <ac:spMk id="196" creationId="{5B4615BF-4283-4771-B5DE-31E88ADE0215}"/>
          </ac:spMkLst>
        </pc:spChg>
        <pc:spChg chg="mod">
          <ac:chgData name="Quiros Araya, Gustavo (T RDA FOA AES-US)" userId="87a2443b-d0c9-4518-9ebc-d799baa37986" providerId="ADAL" clId="{8890887C-F27B-4EA1-B41C-91E3647CEAF0}" dt="2021-02-23T03:26:21.597" v="2897"/>
          <ac:spMkLst>
            <pc:docMk/>
            <pc:sldMk cId="4053279906" sldId="3197"/>
            <ac:spMk id="197" creationId="{A4F28D01-A8E6-4199-A0AA-1B32B28DF57B}"/>
          </ac:spMkLst>
        </pc:spChg>
        <pc:spChg chg="mod">
          <ac:chgData name="Quiros Araya, Gustavo (T RDA FOA AES-US)" userId="87a2443b-d0c9-4518-9ebc-d799baa37986" providerId="ADAL" clId="{8890887C-F27B-4EA1-B41C-91E3647CEAF0}" dt="2021-02-23T03:26:41.645" v="2903"/>
          <ac:spMkLst>
            <pc:docMk/>
            <pc:sldMk cId="4053279906" sldId="3197"/>
            <ac:spMk id="202" creationId="{B83469AA-4114-40E1-A1AF-A66CEE22C1F9}"/>
          </ac:spMkLst>
        </pc:spChg>
        <pc:spChg chg="mod">
          <ac:chgData name="Quiros Araya, Gustavo (T RDA FOA AES-US)" userId="87a2443b-d0c9-4518-9ebc-d799baa37986" providerId="ADAL" clId="{8890887C-F27B-4EA1-B41C-91E3647CEAF0}" dt="2021-02-23T03:26:41.645" v="2903"/>
          <ac:spMkLst>
            <pc:docMk/>
            <pc:sldMk cId="4053279906" sldId="3197"/>
            <ac:spMk id="203" creationId="{E8F6801A-8CAC-49CC-9067-288BB88AE43C}"/>
          </ac:spMkLst>
        </pc:spChg>
        <pc:spChg chg="mod">
          <ac:chgData name="Quiros Araya, Gustavo (T RDA FOA AES-US)" userId="87a2443b-d0c9-4518-9ebc-d799baa37986" providerId="ADAL" clId="{8890887C-F27B-4EA1-B41C-91E3647CEAF0}" dt="2021-02-23T03:27:20.872" v="2911"/>
          <ac:spMkLst>
            <pc:docMk/>
            <pc:sldMk cId="4053279906" sldId="3197"/>
            <ac:spMk id="210" creationId="{FD247E99-FDEE-47AF-9E36-26DD6E3239D0}"/>
          </ac:spMkLst>
        </pc:spChg>
        <pc:spChg chg="mod">
          <ac:chgData name="Quiros Araya, Gustavo (T RDA FOA AES-US)" userId="87a2443b-d0c9-4518-9ebc-d799baa37986" providerId="ADAL" clId="{8890887C-F27B-4EA1-B41C-91E3647CEAF0}" dt="2021-02-23T03:27:20.872" v="2911"/>
          <ac:spMkLst>
            <pc:docMk/>
            <pc:sldMk cId="4053279906" sldId="3197"/>
            <ac:spMk id="211" creationId="{D7A02DD4-9795-449B-B8D1-0F33A185203A}"/>
          </ac:spMkLst>
        </pc:spChg>
        <pc:spChg chg="mod">
          <ac:chgData name="Quiros Araya, Gustavo (T RDA FOA AES-US)" userId="87a2443b-d0c9-4518-9ebc-d799baa37986" providerId="ADAL" clId="{8890887C-F27B-4EA1-B41C-91E3647CEAF0}" dt="2021-02-23T03:27:58.105" v="2923"/>
          <ac:spMkLst>
            <pc:docMk/>
            <pc:sldMk cId="4053279906" sldId="3197"/>
            <ac:spMk id="219" creationId="{C2629BD7-0F44-4733-884F-5B32DE3C86DC}"/>
          </ac:spMkLst>
        </pc:spChg>
        <pc:spChg chg="mod">
          <ac:chgData name="Quiros Araya, Gustavo (T RDA FOA AES-US)" userId="87a2443b-d0c9-4518-9ebc-d799baa37986" providerId="ADAL" clId="{8890887C-F27B-4EA1-B41C-91E3647CEAF0}" dt="2021-02-23T03:27:58.105" v="2923"/>
          <ac:spMkLst>
            <pc:docMk/>
            <pc:sldMk cId="4053279906" sldId="3197"/>
            <ac:spMk id="220" creationId="{0AFFC726-7A57-4CB8-A737-6E552CF4E5AB}"/>
          </ac:spMkLst>
        </pc:spChg>
        <pc:spChg chg="mod">
          <ac:chgData name="Quiros Araya, Gustavo (T RDA FOA AES-US)" userId="87a2443b-d0c9-4518-9ebc-d799baa37986" providerId="ADAL" clId="{8890887C-F27B-4EA1-B41C-91E3647CEAF0}" dt="2021-02-23T03:28:27.456" v="2929"/>
          <ac:spMkLst>
            <pc:docMk/>
            <pc:sldMk cId="4053279906" sldId="3197"/>
            <ac:spMk id="226" creationId="{ADA8ABA3-43EC-4F2D-A349-4212B74635B7}"/>
          </ac:spMkLst>
        </pc:spChg>
        <pc:spChg chg="mod">
          <ac:chgData name="Quiros Araya, Gustavo (T RDA FOA AES-US)" userId="87a2443b-d0c9-4518-9ebc-d799baa37986" providerId="ADAL" clId="{8890887C-F27B-4EA1-B41C-91E3647CEAF0}" dt="2021-02-23T03:28:27.456" v="2929"/>
          <ac:spMkLst>
            <pc:docMk/>
            <pc:sldMk cId="4053279906" sldId="3197"/>
            <ac:spMk id="227" creationId="{3DF8B8C8-6C80-48D0-9DA7-2912CE279526}"/>
          </ac:spMkLst>
        </pc:spChg>
        <pc:spChg chg="mod">
          <ac:chgData name="Quiros Araya, Gustavo (T RDA FOA AES-US)" userId="87a2443b-d0c9-4518-9ebc-d799baa37986" providerId="ADAL" clId="{8890887C-F27B-4EA1-B41C-91E3647CEAF0}" dt="2021-02-23T03:28:34.866" v="2931"/>
          <ac:spMkLst>
            <pc:docMk/>
            <pc:sldMk cId="4053279906" sldId="3197"/>
            <ac:spMk id="229" creationId="{FEA3E59A-DB64-466A-A4F4-B27C01E555C6}"/>
          </ac:spMkLst>
        </pc:spChg>
        <pc:spChg chg="mod">
          <ac:chgData name="Quiros Araya, Gustavo (T RDA FOA AES-US)" userId="87a2443b-d0c9-4518-9ebc-d799baa37986" providerId="ADAL" clId="{8890887C-F27B-4EA1-B41C-91E3647CEAF0}" dt="2021-02-23T03:28:34.866" v="2931"/>
          <ac:spMkLst>
            <pc:docMk/>
            <pc:sldMk cId="4053279906" sldId="3197"/>
            <ac:spMk id="230" creationId="{9F79DF74-43F2-495A-9E76-5C24E12D89FF}"/>
          </ac:spMkLst>
        </pc:spChg>
        <pc:spChg chg="mod">
          <ac:chgData name="Quiros Araya, Gustavo (T RDA FOA AES-US)" userId="87a2443b-d0c9-4518-9ebc-d799baa37986" providerId="ADAL" clId="{8890887C-F27B-4EA1-B41C-91E3647CEAF0}" dt="2021-02-23T03:28:38.457" v="2933"/>
          <ac:spMkLst>
            <pc:docMk/>
            <pc:sldMk cId="4053279906" sldId="3197"/>
            <ac:spMk id="232" creationId="{4217099D-2634-4CF7-A36B-98A7677B2DFD}"/>
          </ac:spMkLst>
        </pc:spChg>
        <pc:spChg chg="mod">
          <ac:chgData name="Quiros Araya, Gustavo (T RDA FOA AES-US)" userId="87a2443b-d0c9-4518-9ebc-d799baa37986" providerId="ADAL" clId="{8890887C-F27B-4EA1-B41C-91E3647CEAF0}" dt="2021-02-23T03:28:38.457" v="2933"/>
          <ac:spMkLst>
            <pc:docMk/>
            <pc:sldMk cId="4053279906" sldId="3197"/>
            <ac:spMk id="233" creationId="{D5E07396-5BAD-49F4-B57A-E5253C0C23AF}"/>
          </ac:spMkLst>
        </pc:spChg>
        <pc:spChg chg="mod">
          <ac:chgData name="Quiros Araya, Gustavo (T RDA FOA AES-US)" userId="87a2443b-d0c9-4518-9ebc-d799baa37986" providerId="ADAL" clId="{8890887C-F27B-4EA1-B41C-91E3647CEAF0}" dt="2021-02-23T03:28:41.533" v="2935"/>
          <ac:spMkLst>
            <pc:docMk/>
            <pc:sldMk cId="4053279906" sldId="3197"/>
            <ac:spMk id="235" creationId="{D418A237-36DE-4E5D-ADEC-B3910E40A851}"/>
          </ac:spMkLst>
        </pc:spChg>
        <pc:spChg chg="mod">
          <ac:chgData name="Quiros Araya, Gustavo (T RDA FOA AES-US)" userId="87a2443b-d0c9-4518-9ebc-d799baa37986" providerId="ADAL" clId="{8890887C-F27B-4EA1-B41C-91E3647CEAF0}" dt="2021-02-23T03:28:41.533" v="2935"/>
          <ac:spMkLst>
            <pc:docMk/>
            <pc:sldMk cId="4053279906" sldId="3197"/>
            <ac:spMk id="236" creationId="{75AC2A0D-856F-4724-946A-1FF752831344}"/>
          </ac:spMkLst>
        </pc:spChg>
        <pc:spChg chg="mod">
          <ac:chgData name="Quiros Araya, Gustavo (T RDA FOA AES-US)" userId="87a2443b-d0c9-4518-9ebc-d799baa37986" providerId="ADAL" clId="{8890887C-F27B-4EA1-B41C-91E3647CEAF0}" dt="2021-02-23T03:28:46.628" v="2937"/>
          <ac:spMkLst>
            <pc:docMk/>
            <pc:sldMk cId="4053279906" sldId="3197"/>
            <ac:spMk id="238" creationId="{0F67653C-EFFC-4317-B4F3-682DE5A54136}"/>
          </ac:spMkLst>
        </pc:spChg>
        <pc:spChg chg="mod">
          <ac:chgData name="Quiros Araya, Gustavo (T RDA FOA AES-US)" userId="87a2443b-d0c9-4518-9ebc-d799baa37986" providerId="ADAL" clId="{8890887C-F27B-4EA1-B41C-91E3647CEAF0}" dt="2021-02-23T03:28:46.628" v="2937"/>
          <ac:spMkLst>
            <pc:docMk/>
            <pc:sldMk cId="4053279906" sldId="3197"/>
            <ac:spMk id="239" creationId="{71BF3FDB-6EE3-4A0D-8BF1-BC04335FEA62}"/>
          </ac:spMkLst>
        </pc:spChg>
        <pc:spChg chg="mod">
          <ac:chgData name="Quiros Araya, Gustavo (T RDA FOA AES-US)" userId="87a2443b-d0c9-4518-9ebc-d799baa37986" providerId="ADAL" clId="{8890887C-F27B-4EA1-B41C-91E3647CEAF0}" dt="2021-02-23T03:28:59.159" v="2939"/>
          <ac:spMkLst>
            <pc:docMk/>
            <pc:sldMk cId="4053279906" sldId="3197"/>
            <ac:spMk id="241" creationId="{0F8F5DA8-BEB6-4C38-99A1-8B6603D347C3}"/>
          </ac:spMkLst>
        </pc:spChg>
        <pc:spChg chg="mod">
          <ac:chgData name="Quiros Araya, Gustavo (T RDA FOA AES-US)" userId="87a2443b-d0c9-4518-9ebc-d799baa37986" providerId="ADAL" clId="{8890887C-F27B-4EA1-B41C-91E3647CEAF0}" dt="2021-02-23T03:28:59.159" v="2939"/>
          <ac:spMkLst>
            <pc:docMk/>
            <pc:sldMk cId="4053279906" sldId="3197"/>
            <ac:spMk id="242" creationId="{F9130938-CEFB-4571-95DA-E6927BC25D4C}"/>
          </ac:spMkLst>
        </pc:spChg>
        <pc:spChg chg="mod topLvl">
          <ac:chgData name="Quiros Araya, Gustavo (T RDA FOA AES-US)" userId="87a2443b-d0c9-4518-9ebc-d799baa37986" providerId="ADAL" clId="{8890887C-F27B-4EA1-B41C-91E3647CEAF0}" dt="2021-02-23T03:33:53.134" v="3028" actId="1035"/>
          <ac:spMkLst>
            <pc:docMk/>
            <pc:sldMk cId="4053279906" sldId="3197"/>
            <ac:spMk id="246" creationId="{D67821E6-D2DD-4317-A5F4-D9B7F4A9CA94}"/>
          </ac:spMkLst>
        </pc:spChg>
        <pc:spChg chg="del mod topLvl">
          <ac:chgData name="Quiros Araya, Gustavo (T RDA FOA AES-US)" userId="87a2443b-d0c9-4518-9ebc-d799baa37986" providerId="ADAL" clId="{8890887C-F27B-4EA1-B41C-91E3647CEAF0}" dt="2021-02-23T03:29:54.802" v="2950" actId="478"/>
          <ac:spMkLst>
            <pc:docMk/>
            <pc:sldMk cId="4053279906" sldId="3197"/>
            <ac:spMk id="247" creationId="{E245949F-FA7D-47F7-9D0D-5AC6C7B612AB}"/>
          </ac:spMkLst>
        </pc:spChg>
        <pc:spChg chg="mod">
          <ac:chgData name="Quiros Araya, Gustavo (T RDA FOA AES-US)" userId="87a2443b-d0c9-4518-9ebc-d799baa37986" providerId="ADAL" clId="{8890887C-F27B-4EA1-B41C-91E3647CEAF0}" dt="2021-02-23T03:29:27.657" v="2945"/>
          <ac:spMkLst>
            <pc:docMk/>
            <pc:sldMk cId="4053279906" sldId="3197"/>
            <ac:spMk id="249" creationId="{93723EFA-C2F0-418E-A9AC-73AE444CA82E}"/>
          </ac:spMkLst>
        </pc:spChg>
        <pc:spChg chg="mod">
          <ac:chgData name="Quiros Araya, Gustavo (T RDA FOA AES-US)" userId="87a2443b-d0c9-4518-9ebc-d799baa37986" providerId="ADAL" clId="{8890887C-F27B-4EA1-B41C-91E3647CEAF0}" dt="2021-02-23T03:29:27.657" v="2945"/>
          <ac:spMkLst>
            <pc:docMk/>
            <pc:sldMk cId="4053279906" sldId="3197"/>
            <ac:spMk id="250" creationId="{440E5ADE-EE7E-4AC4-B184-68A10EA5EDD0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33:53.134" v="3028" actId="1035"/>
          <ac:spMkLst>
            <pc:docMk/>
            <pc:sldMk cId="4053279906" sldId="3197"/>
            <ac:spMk id="251" creationId="{77DA6744-B236-48F8-9950-BE6766E1A723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33:53.134" v="3028" actId="1035"/>
          <ac:spMkLst>
            <pc:docMk/>
            <pc:sldMk cId="4053279906" sldId="3197"/>
            <ac:spMk id="252" creationId="{282932EE-F866-4775-ADF6-21859141AA4E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33:53.134" v="3028" actId="1035"/>
          <ac:spMkLst>
            <pc:docMk/>
            <pc:sldMk cId="4053279906" sldId="3197"/>
            <ac:spMk id="253" creationId="{2CB4F9CF-F00D-4744-B35C-CBE65EEE3A94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1:47.244" v="3116" actId="1076"/>
          <ac:spMkLst>
            <pc:docMk/>
            <pc:sldMk cId="4053279906" sldId="3197"/>
            <ac:spMk id="254" creationId="{85F15521-22DD-4CF7-AC96-3C0372F5F313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33:53.134" v="3028" actId="1035"/>
          <ac:spMkLst>
            <pc:docMk/>
            <pc:sldMk cId="4053279906" sldId="3197"/>
            <ac:spMk id="255" creationId="{0C75472A-6033-4CD6-BE87-3F9792FBB76F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33:53.134" v="3028" actId="1035"/>
          <ac:spMkLst>
            <pc:docMk/>
            <pc:sldMk cId="4053279906" sldId="3197"/>
            <ac:spMk id="256" creationId="{990356C5-71BB-466A-AB7D-0239F66408F2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33:53.134" v="3028" actId="1035"/>
          <ac:spMkLst>
            <pc:docMk/>
            <pc:sldMk cId="4053279906" sldId="3197"/>
            <ac:spMk id="257" creationId="{D81402BD-4268-45CF-98ED-A4353E543A94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52:21.269" v="3148" actId="1076"/>
          <ac:spMkLst>
            <pc:docMk/>
            <pc:sldMk cId="4053279906" sldId="3197"/>
            <ac:spMk id="266" creationId="{CAA68727-1A82-494A-908F-5D08B44EAC6C}"/>
          </ac:spMkLst>
        </pc:spChg>
        <pc:spChg chg="add mod">
          <ac:chgData name="Quiros Araya, Gustavo (T RDA FOA AES-US)" userId="87a2443b-d0c9-4518-9ebc-d799baa37986" providerId="ADAL" clId="{8890887C-F27B-4EA1-B41C-91E3647CEAF0}" dt="2021-02-23T03:46:50.362" v="3127" actId="1076"/>
          <ac:spMkLst>
            <pc:docMk/>
            <pc:sldMk cId="4053279906" sldId="3197"/>
            <ac:spMk id="294" creationId="{EBFE7485-BF18-45FC-869E-35B007F0A0E2}"/>
          </ac:spMkLst>
        </pc:spChg>
        <pc:grpChg chg="add del mod">
          <ac:chgData name="Quiros Araya, Gustavo (T RDA FOA AES-US)" userId="87a2443b-d0c9-4518-9ebc-d799baa37986" providerId="ADAL" clId="{8890887C-F27B-4EA1-B41C-91E3647CEAF0}" dt="2021-02-23T03:19:11.778" v="2823" actId="478"/>
          <ac:grpSpMkLst>
            <pc:docMk/>
            <pc:sldMk cId="4053279906" sldId="3197"/>
            <ac:grpSpMk id="142" creationId="{21C6263C-CBF3-486C-9035-211AB26C20DE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3:53.134" v="3028" actId="1035"/>
          <ac:grpSpMkLst>
            <pc:docMk/>
            <pc:sldMk cId="4053279906" sldId="3197"/>
            <ac:grpSpMk id="147" creationId="{3C77B3BF-2777-4A6C-AE4B-1E83B34C1A53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3:53.134" v="3028" actId="1035"/>
          <ac:grpSpMkLst>
            <pc:docMk/>
            <pc:sldMk cId="4053279906" sldId="3197"/>
            <ac:grpSpMk id="148" creationId="{B3990BA7-34D8-4484-AF20-236D12E035C4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3:53.134" v="3028" actId="1035"/>
          <ac:grpSpMkLst>
            <pc:docMk/>
            <pc:sldMk cId="4053279906" sldId="3197"/>
            <ac:grpSpMk id="155" creationId="{59D7489F-1049-40E0-956F-A6C23BC6A507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3:53.134" v="3028" actId="1035"/>
          <ac:grpSpMkLst>
            <pc:docMk/>
            <pc:sldMk cId="4053279906" sldId="3197"/>
            <ac:grpSpMk id="159" creationId="{E1D74F7B-9D73-4C8B-A974-BBDFE65A45D2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3:53.134" v="3028" actId="1035"/>
          <ac:grpSpMkLst>
            <pc:docMk/>
            <pc:sldMk cId="4053279906" sldId="3197"/>
            <ac:grpSpMk id="166" creationId="{8F261A5B-6310-4B2A-B2D7-4D4DC35EB263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3:53.134" v="3028" actId="1035"/>
          <ac:grpSpMkLst>
            <pc:docMk/>
            <pc:sldMk cId="4053279906" sldId="3197"/>
            <ac:grpSpMk id="174" creationId="{CE045AFD-B33A-40D2-A792-29CE7302E3BF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1:50.349" v="3117" actId="1076"/>
          <ac:grpSpMkLst>
            <pc:docMk/>
            <pc:sldMk cId="4053279906" sldId="3197"/>
            <ac:grpSpMk id="180" creationId="{EBDCA59F-5E02-48A6-B28E-CEDE558A7313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3:53.134" v="3028" actId="1035"/>
          <ac:grpSpMkLst>
            <pc:docMk/>
            <pc:sldMk cId="4053279906" sldId="3197"/>
            <ac:grpSpMk id="188" creationId="{31A3CFB5-D2CD-40D9-BE2E-F7330C9DB98F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3:53.134" v="3028" actId="1035"/>
          <ac:grpSpMkLst>
            <pc:docMk/>
            <pc:sldMk cId="4053279906" sldId="3197"/>
            <ac:grpSpMk id="195" creationId="{F32153F5-69F6-4E0A-AFE8-E3F59C4EDA6C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3:53.134" v="3028" actId="1035"/>
          <ac:grpSpMkLst>
            <pc:docMk/>
            <pc:sldMk cId="4053279906" sldId="3197"/>
            <ac:grpSpMk id="201" creationId="{D9A24D08-1F85-4668-BAE4-7402A741FFCD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46:53.686" v="3128" actId="1076"/>
          <ac:grpSpMkLst>
            <pc:docMk/>
            <pc:sldMk cId="4053279906" sldId="3197"/>
            <ac:grpSpMk id="209" creationId="{9F751AC0-F363-47B5-8560-E95A285DE8AF}"/>
          </ac:grpSpMkLst>
        </pc:grpChg>
        <pc:grpChg chg="add mod">
          <ac:chgData name="Quiros Araya, Gustavo (T RDA FOA AES-US)" userId="87a2443b-d0c9-4518-9ebc-d799baa37986" providerId="ADAL" clId="{8890887C-F27B-4EA1-B41C-91E3647CEAF0}" dt="2021-02-23T03:34:29.202" v="3034" actId="1076"/>
          <ac:grpSpMkLst>
            <pc:docMk/>
            <pc:sldMk cId="4053279906" sldId="3197"/>
            <ac:grpSpMk id="218" creationId="{046B20A3-095D-4BED-ADDA-1EE68DA7D216}"/>
          </ac:grpSpMkLst>
        </pc:grpChg>
        <pc:grpChg chg="add del mod">
          <ac:chgData name="Quiros Araya, Gustavo (T RDA FOA AES-US)" userId="87a2443b-d0c9-4518-9ebc-d799baa37986" providerId="ADAL" clId="{8890887C-F27B-4EA1-B41C-91E3647CEAF0}" dt="2021-02-23T03:30:00.510" v="2952" actId="478"/>
          <ac:grpSpMkLst>
            <pc:docMk/>
            <pc:sldMk cId="4053279906" sldId="3197"/>
            <ac:grpSpMk id="225" creationId="{8459A0FB-1013-455D-BC66-8ECF4869E834}"/>
          </ac:grpSpMkLst>
        </pc:grpChg>
        <pc:grpChg chg="add del mod">
          <ac:chgData name="Quiros Araya, Gustavo (T RDA FOA AES-US)" userId="87a2443b-d0c9-4518-9ebc-d799baa37986" providerId="ADAL" clId="{8890887C-F27B-4EA1-B41C-91E3647CEAF0}" dt="2021-02-23T03:30:05.979" v="2957" actId="478"/>
          <ac:grpSpMkLst>
            <pc:docMk/>
            <pc:sldMk cId="4053279906" sldId="3197"/>
            <ac:grpSpMk id="228" creationId="{19410E9C-AD06-4A65-9F12-CE4EAABA7021}"/>
          </ac:grpSpMkLst>
        </pc:grpChg>
        <pc:grpChg chg="add del mod">
          <ac:chgData name="Quiros Araya, Gustavo (T RDA FOA AES-US)" userId="87a2443b-d0c9-4518-9ebc-d799baa37986" providerId="ADAL" clId="{8890887C-F27B-4EA1-B41C-91E3647CEAF0}" dt="2021-02-23T03:30:01.955" v="2953" actId="478"/>
          <ac:grpSpMkLst>
            <pc:docMk/>
            <pc:sldMk cId="4053279906" sldId="3197"/>
            <ac:grpSpMk id="231" creationId="{4889F0D2-6DB3-461D-A8C0-F548E343C560}"/>
          </ac:grpSpMkLst>
        </pc:grpChg>
        <pc:grpChg chg="add del mod">
          <ac:chgData name="Quiros Araya, Gustavo (T RDA FOA AES-US)" userId="87a2443b-d0c9-4518-9ebc-d799baa37986" providerId="ADAL" clId="{8890887C-F27B-4EA1-B41C-91E3647CEAF0}" dt="2021-02-23T03:30:02.505" v="2954" actId="478"/>
          <ac:grpSpMkLst>
            <pc:docMk/>
            <pc:sldMk cId="4053279906" sldId="3197"/>
            <ac:grpSpMk id="234" creationId="{B5FF7462-3967-4DE5-B1F7-57A71A6A71E1}"/>
          </ac:grpSpMkLst>
        </pc:grpChg>
        <pc:grpChg chg="add del mod">
          <ac:chgData name="Quiros Araya, Gustavo (T RDA FOA AES-US)" userId="87a2443b-d0c9-4518-9ebc-d799baa37986" providerId="ADAL" clId="{8890887C-F27B-4EA1-B41C-91E3647CEAF0}" dt="2021-02-23T03:30:03.715" v="2955" actId="478"/>
          <ac:grpSpMkLst>
            <pc:docMk/>
            <pc:sldMk cId="4053279906" sldId="3197"/>
            <ac:grpSpMk id="237" creationId="{9225E379-6E77-4E69-91E9-948F0ED91B8B}"/>
          </ac:grpSpMkLst>
        </pc:grpChg>
        <pc:grpChg chg="add del mod">
          <ac:chgData name="Quiros Araya, Gustavo (T RDA FOA AES-US)" userId="87a2443b-d0c9-4518-9ebc-d799baa37986" providerId="ADAL" clId="{8890887C-F27B-4EA1-B41C-91E3647CEAF0}" dt="2021-02-23T03:30:05.208" v="2956" actId="478"/>
          <ac:grpSpMkLst>
            <pc:docMk/>
            <pc:sldMk cId="4053279906" sldId="3197"/>
            <ac:grpSpMk id="240" creationId="{AFEF9272-B5CA-47AC-929A-4766CD8FC965}"/>
          </ac:grpSpMkLst>
        </pc:grpChg>
        <pc:grpChg chg="add del mod">
          <ac:chgData name="Quiros Araya, Gustavo (T RDA FOA AES-US)" userId="87a2443b-d0c9-4518-9ebc-d799baa37986" providerId="ADAL" clId="{8890887C-F27B-4EA1-B41C-91E3647CEAF0}" dt="2021-02-23T03:29:51.718" v="2949" actId="165"/>
          <ac:grpSpMkLst>
            <pc:docMk/>
            <pc:sldMk cId="4053279906" sldId="3197"/>
            <ac:grpSpMk id="245" creationId="{2C8E0792-5B22-429D-B61D-08D7A5C716C7}"/>
          </ac:grpSpMkLst>
        </pc:grpChg>
        <pc:grpChg chg="add del mod">
          <ac:chgData name="Quiros Araya, Gustavo (T RDA FOA AES-US)" userId="87a2443b-d0c9-4518-9ebc-d799baa37986" providerId="ADAL" clId="{8890887C-F27B-4EA1-B41C-91E3647CEAF0}" dt="2021-02-23T03:29:59.163" v="2951" actId="478"/>
          <ac:grpSpMkLst>
            <pc:docMk/>
            <pc:sldMk cId="4053279906" sldId="3197"/>
            <ac:grpSpMk id="248" creationId="{224820F9-00D5-4F82-9859-A0C5C26D2451}"/>
          </ac:grpSpMkLst>
        </pc:grpChg>
        <pc:picChg chg="add del mod">
          <ac:chgData name="Quiros Araya, Gustavo (T RDA FOA AES-US)" userId="87a2443b-d0c9-4518-9ebc-d799baa37986" providerId="ADAL" clId="{8890887C-F27B-4EA1-B41C-91E3647CEAF0}" dt="2021-02-23T02:54:39.725" v="2523" actId="478"/>
          <ac:picMkLst>
            <pc:docMk/>
            <pc:sldMk cId="4053279906" sldId="3197"/>
            <ac:picMk id="50" creationId="{5BBA3635-03C1-4260-B624-5EEFB63BD292}"/>
          </ac:picMkLst>
        </pc:picChg>
        <pc:picChg chg="add del mod ord">
          <ac:chgData name="Quiros Araya, Gustavo (T RDA FOA AES-US)" userId="87a2443b-d0c9-4518-9ebc-d799baa37986" providerId="ADAL" clId="{8890887C-F27B-4EA1-B41C-91E3647CEAF0}" dt="2021-02-23T03:33:53.134" v="3028" actId="1035"/>
          <ac:picMkLst>
            <pc:docMk/>
            <pc:sldMk cId="4053279906" sldId="3197"/>
            <ac:picMk id="113" creationId="{D031D904-7D3D-4CE3-98F9-630A66229F0E}"/>
          </ac:picMkLst>
        </pc:picChg>
        <pc:picChg chg="add mod">
          <ac:chgData name="Quiros Araya, Gustavo (T RDA FOA AES-US)" userId="87a2443b-d0c9-4518-9ebc-d799baa37986" providerId="ADAL" clId="{8890887C-F27B-4EA1-B41C-91E3647CEAF0}" dt="2021-02-23T03:17:50.546" v="2807" actId="164"/>
          <ac:picMkLst>
            <pc:docMk/>
            <pc:sldMk cId="4053279906" sldId="3197"/>
            <ac:picMk id="140" creationId="{1BF73D3B-49E1-4C5E-BBC0-49E559DA1619}"/>
          </ac:picMkLst>
        </pc:picChg>
        <pc:cxnChg chg="del mod">
          <ac:chgData name="Quiros Araya, Gustavo (T RDA FOA AES-US)" userId="87a2443b-d0c9-4518-9ebc-d799baa37986" providerId="ADAL" clId="{8890887C-F27B-4EA1-B41C-91E3647CEAF0}" dt="2021-02-23T02:50:21.622" v="2440" actId="478"/>
          <ac:cxnSpMkLst>
            <pc:docMk/>
            <pc:sldMk cId="4053279906" sldId="3197"/>
            <ac:cxnSpMk id="49" creationId="{7AA60275-DF89-45CC-BD17-27CB85FC09F7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19.817" v="2438" actId="478"/>
          <ac:cxnSpMkLst>
            <pc:docMk/>
            <pc:sldMk cId="4053279906" sldId="3197"/>
            <ac:cxnSpMk id="52" creationId="{43311EA2-0F72-4766-A5FB-6D81797B2891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37.538" v="2454" actId="478"/>
          <ac:cxnSpMkLst>
            <pc:docMk/>
            <pc:sldMk cId="4053279906" sldId="3197"/>
            <ac:cxnSpMk id="57" creationId="{12C066D8-F692-4CFF-BC26-0CBF32D86EF5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36.786" v="2453" actId="478"/>
          <ac:cxnSpMkLst>
            <pc:docMk/>
            <pc:sldMk cId="4053279906" sldId="3197"/>
            <ac:cxnSpMk id="60" creationId="{D3FE7B49-6163-4DEE-83CF-6388D639E4D8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29.762" v="2447" actId="478"/>
          <ac:cxnSpMkLst>
            <pc:docMk/>
            <pc:sldMk cId="4053279906" sldId="3197"/>
            <ac:cxnSpMk id="67" creationId="{8338904D-56FC-4951-A76F-7CB84AB7D43B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28.800" v="2446" actId="478"/>
          <ac:cxnSpMkLst>
            <pc:docMk/>
            <pc:sldMk cId="4053279906" sldId="3197"/>
            <ac:cxnSpMk id="70" creationId="{E5F98745-20E0-4DF4-B5B2-54DD74A232B7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01:05.934" v="2591" actId="478"/>
          <ac:cxnSpMkLst>
            <pc:docMk/>
            <pc:sldMk cId="4053279906" sldId="3197"/>
            <ac:cxnSpMk id="72" creationId="{AA8BA464-C179-4892-9FAF-4FFEFE4CC7C7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01:07.261" v="2592" actId="478"/>
          <ac:cxnSpMkLst>
            <pc:docMk/>
            <pc:sldMk cId="4053279906" sldId="3197"/>
            <ac:cxnSpMk id="75" creationId="{FC99BD92-2FDB-4408-917C-53747FCE2A32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01:08.734" v="2593" actId="478"/>
          <ac:cxnSpMkLst>
            <pc:docMk/>
            <pc:sldMk cId="4053279906" sldId="3197"/>
            <ac:cxnSpMk id="79" creationId="{7A370BD4-8239-4FBB-9874-5AA9CF8D7C99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01:10.176" v="2594" actId="478"/>
          <ac:cxnSpMkLst>
            <pc:docMk/>
            <pc:sldMk cId="4053279906" sldId="3197"/>
            <ac:cxnSpMk id="82" creationId="{1BCEAFFA-BE54-47ED-8F98-9022B1048369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28.008" v="2445" actId="478"/>
          <ac:cxnSpMkLst>
            <pc:docMk/>
            <pc:sldMk cId="4053279906" sldId="3197"/>
            <ac:cxnSpMk id="84" creationId="{7323C338-8984-452E-9183-0C78F19C264A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18.659" v="2437" actId="478"/>
          <ac:cxnSpMkLst>
            <pc:docMk/>
            <pc:sldMk cId="4053279906" sldId="3197"/>
            <ac:cxnSpMk id="86" creationId="{A7354BA4-B5ED-466D-88B0-C9E5E3C68623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16.524" v="2435" actId="478"/>
          <ac:cxnSpMkLst>
            <pc:docMk/>
            <pc:sldMk cId="4053279906" sldId="3197"/>
            <ac:cxnSpMk id="87" creationId="{12946227-349F-45F9-9AF0-E3D1CD4922C1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17.758" v="2436" actId="478"/>
          <ac:cxnSpMkLst>
            <pc:docMk/>
            <pc:sldMk cId="4053279906" sldId="3197"/>
            <ac:cxnSpMk id="88" creationId="{C68E224D-9965-4F4B-8A6B-E6F844B51B36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31.219" v="2448" actId="478"/>
          <ac:cxnSpMkLst>
            <pc:docMk/>
            <pc:sldMk cId="4053279906" sldId="3197"/>
            <ac:cxnSpMk id="89" creationId="{64C590C8-32B4-4E38-AB77-426641C19FC5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38.533" v="2455" actId="478"/>
          <ac:cxnSpMkLst>
            <pc:docMk/>
            <pc:sldMk cId="4053279906" sldId="3197"/>
            <ac:cxnSpMk id="90" creationId="{80DDEA5D-3B23-4ED8-94D2-F6EB4F83CFCD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32.048" v="2449" actId="478"/>
          <ac:cxnSpMkLst>
            <pc:docMk/>
            <pc:sldMk cId="4053279906" sldId="3197"/>
            <ac:cxnSpMk id="91" creationId="{5C75340D-9FED-4BDA-BA5A-F748CBA42BE7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26.490" v="2444" actId="478"/>
          <ac:cxnSpMkLst>
            <pc:docMk/>
            <pc:sldMk cId="4053279906" sldId="3197"/>
            <ac:cxnSpMk id="92" creationId="{AFEC6D22-80B1-42E2-BB53-F4CDD9F5DF25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07.166" v="2427" actId="478"/>
          <ac:cxnSpMkLst>
            <pc:docMk/>
            <pc:sldMk cId="4053279906" sldId="3197"/>
            <ac:cxnSpMk id="93" creationId="{B68DC66F-9DDC-40A7-B92C-84CA031FAE6D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08.389" v="2428" actId="478"/>
          <ac:cxnSpMkLst>
            <pc:docMk/>
            <pc:sldMk cId="4053279906" sldId="3197"/>
            <ac:cxnSpMk id="94" creationId="{8DCF986E-5A72-4996-8F5B-C1972911D178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01:11.632" v="2595" actId="478"/>
          <ac:cxnSpMkLst>
            <pc:docMk/>
            <pc:sldMk cId="4053279906" sldId="3197"/>
            <ac:cxnSpMk id="95" creationId="{521CF037-37AC-421B-B85F-68D815D395A5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20.295" v="2439" actId="478"/>
          <ac:cxnSpMkLst>
            <pc:docMk/>
            <pc:sldMk cId="4053279906" sldId="3197"/>
            <ac:cxnSpMk id="96" creationId="{AE4F5481-8E95-4421-8CE3-089CBEEEBFE6}"/>
          </ac:cxnSpMkLst>
        </pc:cxnChg>
        <pc:cxnChg chg="del mod">
          <ac:chgData name="Quiros Araya, Gustavo (T RDA FOA AES-US)" userId="87a2443b-d0c9-4518-9ebc-d799baa37986" providerId="ADAL" clId="{8890887C-F27B-4EA1-B41C-91E3647CEAF0}" dt="2021-02-23T02:50:08.847" v="2429" actId="478"/>
          <ac:cxnSpMkLst>
            <pc:docMk/>
            <pc:sldMk cId="4053279906" sldId="3197"/>
            <ac:cxnSpMk id="97" creationId="{60E3EA58-CFB6-40C1-8AB1-F96F168F89D1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01:14.403" v="2596" actId="478"/>
          <ac:cxnSpMkLst>
            <pc:docMk/>
            <pc:sldMk cId="4053279906" sldId="3197"/>
            <ac:cxnSpMk id="99" creationId="{D24AFED4-94A1-4247-8B1F-14F1674B1B4F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01:17.976" v="2597" actId="478"/>
          <ac:cxnSpMkLst>
            <pc:docMk/>
            <pc:sldMk cId="4053279906" sldId="3197"/>
            <ac:cxnSpMk id="100" creationId="{D8459AF7-1123-4843-B004-0211BB04675D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01:18.878" v="2598" actId="478"/>
          <ac:cxnSpMkLst>
            <pc:docMk/>
            <pc:sldMk cId="4053279906" sldId="3197"/>
            <ac:cxnSpMk id="101" creationId="{0F035D3C-23C0-49FF-B164-FA0031C2A9C8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01:19.825" v="2599" actId="478"/>
          <ac:cxnSpMkLst>
            <pc:docMk/>
            <pc:sldMk cId="4053279906" sldId="3197"/>
            <ac:cxnSpMk id="105" creationId="{DE1C717F-D53D-4528-8D45-23C7CDF9D46A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3:35:22.266" v="3055" actId="1038"/>
          <ac:cxnSpMkLst>
            <pc:docMk/>
            <pc:sldMk cId="4053279906" sldId="3197"/>
            <ac:cxnSpMk id="115" creationId="{0487D76C-BEB0-452A-ACED-C81BCF0DB908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3:35:22.266" v="3055" actId="1038"/>
          <ac:cxnSpMkLst>
            <pc:docMk/>
            <pc:sldMk cId="4053279906" sldId="3197"/>
            <ac:cxnSpMk id="127" creationId="{9D01FA6B-1901-4DCF-8E03-A988C443C1A8}"/>
          </ac:cxnSpMkLst>
        </pc:cxnChg>
        <pc:cxnChg chg="add mod ord">
          <ac:chgData name="Quiros Araya, Gustavo (T RDA FOA AES-US)" userId="87a2443b-d0c9-4518-9ebc-d799baa37986" providerId="ADAL" clId="{8890887C-F27B-4EA1-B41C-91E3647CEAF0}" dt="2021-02-23T03:35:22.266" v="3055" actId="1038"/>
          <ac:cxnSpMkLst>
            <pc:docMk/>
            <pc:sldMk cId="4053279906" sldId="3197"/>
            <ac:cxnSpMk id="135" creationId="{BA791164-FDF1-40F3-AFCB-5A88C5954340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3:35:22.266" v="3055" actId="1038"/>
          <ac:cxnSpMkLst>
            <pc:docMk/>
            <pc:sldMk cId="4053279906" sldId="3197"/>
            <ac:cxnSpMk id="162" creationId="{E9C2F39F-7D51-42D8-8712-7D59C8C454B4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3:35:22.266" v="3055" actId="1038"/>
          <ac:cxnSpMkLst>
            <pc:docMk/>
            <pc:sldMk cId="4053279906" sldId="3197"/>
            <ac:cxnSpMk id="169" creationId="{EB8918C4-3D2D-494E-8BE1-C0E416F8A8CA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3:34:23.037" v="3032" actId="1076"/>
          <ac:cxnSpMkLst>
            <pc:docMk/>
            <pc:sldMk cId="4053279906" sldId="3197"/>
            <ac:cxnSpMk id="177" creationId="{18C07C0D-38C7-4147-80F8-A18DD643C034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3:42:37.209" v="3120" actId="14100"/>
          <ac:cxnSpMkLst>
            <pc:docMk/>
            <pc:sldMk cId="4053279906" sldId="3197"/>
            <ac:cxnSpMk id="183" creationId="{09530DFA-7F61-42ED-97D5-CA8ECFAAC385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3:42:34.360" v="3119" actId="14100"/>
          <ac:cxnSpMkLst>
            <pc:docMk/>
            <pc:sldMk cId="4053279906" sldId="3197"/>
            <ac:cxnSpMk id="191" creationId="{A2862941-9ACA-42E7-BAD8-18F824F7576B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3:36:44.051" v="3077" actId="14100"/>
          <ac:cxnSpMkLst>
            <pc:docMk/>
            <pc:sldMk cId="4053279906" sldId="3197"/>
            <ac:cxnSpMk id="198" creationId="{6104B3DC-27FB-48AD-893A-C80CB32C8DF1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3:35:39.211" v="3074" actId="1035"/>
          <ac:cxnSpMkLst>
            <pc:docMk/>
            <pc:sldMk cId="4053279906" sldId="3197"/>
            <ac:cxnSpMk id="204" creationId="{850BA7AD-5314-43A5-B33F-1EFEC8AACEBC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3:46:53.686" v="3128" actId="1076"/>
          <ac:cxnSpMkLst>
            <pc:docMk/>
            <pc:sldMk cId="4053279906" sldId="3197"/>
            <ac:cxnSpMk id="213" creationId="{008AF9F0-6DD6-44B1-A705-7AFA0B1E20FB}"/>
          </ac:cxnSpMkLst>
        </pc:cxnChg>
        <pc:cxnChg chg="add mod">
          <ac:chgData name="Quiros Araya, Gustavo (T RDA FOA AES-US)" userId="87a2443b-d0c9-4518-9ebc-d799baa37986" providerId="ADAL" clId="{8890887C-F27B-4EA1-B41C-91E3647CEAF0}" dt="2021-02-23T03:42:17.815" v="3118" actId="14100"/>
          <ac:cxnSpMkLst>
            <pc:docMk/>
            <pc:sldMk cId="4053279906" sldId="3197"/>
            <ac:cxnSpMk id="221" creationId="{37E4766A-DD72-4ED4-BBC4-5B982019F01C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39:55.811" v="3100" actId="478"/>
          <ac:cxnSpMkLst>
            <pc:docMk/>
            <pc:sldMk cId="4053279906" sldId="3197"/>
            <ac:cxnSpMk id="272" creationId="{2C5D68F8-EDF8-4C22-9A8E-89381D375818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39:38.196" v="3098" actId="478"/>
          <ac:cxnSpMkLst>
            <pc:docMk/>
            <pc:sldMk cId="4053279906" sldId="3197"/>
            <ac:cxnSpMk id="276" creationId="{ED1E849D-2D19-4863-A97A-D3B2A56A7504}"/>
          </ac:cxnSpMkLst>
        </pc:cxnChg>
        <pc:cxnChg chg="add del mod">
          <ac:chgData name="Quiros Araya, Gustavo (T RDA FOA AES-US)" userId="87a2443b-d0c9-4518-9ebc-d799baa37986" providerId="ADAL" clId="{8890887C-F27B-4EA1-B41C-91E3647CEAF0}" dt="2021-02-23T03:41:43.187" v="3115" actId="478"/>
          <ac:cxnSpMkLst>
            <pc:docMk/>
            <pc:sldMk cId="4053279906" sldId="3197"/>
            <ac:cxnSpMk id="280" creationId="{773D588F-B9D9-422B-97ED-879EBA371DD9}"/>
          </ac:cxnSpMkLst>
        </pc:cxnChg>
      </pc:sldChg>
    </pc:docChg>
  </pc:docChgLst>
  <pc:docChgLst>
    <pc:chgData name="Deshpande, Mayuri (T RDA FOA PAE-US)" userId="307bd999-17dd-4997-b1e2-139127ad27ac" providerId="ADAL" clId="{179BC8E9-6240-4755-8B11-A9D10960E425}"/>
    <pc:docChg chg="undo redo custSel addSld delSld modSld sldOrd modMainMaster">
      <pc:chgData name="Deshpande, Mayuri (T RDA FOA PAE-US)" userId="307bd999-17dd-4997-b1e2-139127ad27ac" providerId="ADAL" clId="{179BC8E9-6240-4755-8B11-A9D10960E425}" dt="2021-04-28T01:13:20.527" v="1902" actId="164"/>
      <pc:docMkLst>
        <pc:docMk/>
      </pc:docMkLst>
      <pc:sldChg chg="add del modNotes">
        <pc:chgData name="Deshpande, Mayuri (T RDA FOA PAE-US)" userId="307bd999-17dd-4997-b1e2-139127ad27ac" providerId="ADAL" clId="{179BC8E9-6240-4755-8B11-A9D10960E425}" dt="2021-04-19T14:07:21.905" v="197"/>
        <pc:sldMkLst>
          <pc:docMk/>
          <pc:sldMk cId="0" sldId="257"/>
        </pc:sldMkLst>
      </pc:sldChg>
      <pc:sldChg chg="addSp modSp add del mod setBg modNotes">
        <pc:chgData name="Deshpande, Mayuri (T RDA FOA PAE-US)" userId="307bd999-17dd-4997-b1e2-139127ad27ac" providerId="ADAL" clId="{179BC8E9-6240-4755-8B11-A9D10960E425}" dt="2021-04-20T10:59:53.621" v="1786" actId="47"/>
        <pc:sldMkLst>
          <pc:docMk/>
          <pc:sldMk cId="0" sldId="258"/>
        </pc:sldMkLst>
        <pc:spChg chg="add">
          <ac:chgData name="Deshpande, Mayuri (T RDA FOA PAE-US)" userId="307bd999-17dd-4997-b1e2-139127ad27ac" providerId="ADAL" clId="{179BC8E9-6240-4755-8B11-A9D10960E425}" dt="2021-04-19T14:37:38.395" v="386" actId="26606"/>
          <ac:spMkLst>
            <pc:docMk/>
            <pc:sldMk cId="0" sldId="258"/>
            <ac:spMk id="7" creationId="{AB8C311F-7253-4AED-9701-7FC0708C41C7}"/>
          </ac:spMkLst>
        </pc:spChg>
        <pc:spChg chg="add mod">
          <ac:chgData name="Deshpande, Mayuri (T RDA FOA PAE-US)" userId="307bd999-17dd-4997-b1e2-139127ad27ac" providerId="ADAL" clId="{179BC8E9-6240-4755-8B11-A9D10960E425}" dt="2021-04-19T14:48:25.545" v="496"/>
          <ac:spMkLst>
            <pc:docMk/>
            <pc:sldMk cId="0" sldId="258"/>
            <ac:spMk id="8" creationId="{F36D58C2-209D-4A44-A18B-F36300DE457A}"/>
          </ac:spMkLst>
        </pc:spChg>
        <pc:spChg chg="add">
          <ac:chgData name="Deshpande, Mayuri (T RDA FOA PAE-US)" userId="307bd999-17dd-4997-b1e2-139127ad27ac" providerId="ADAL" clId="{179BC8E9-6240-4755-8B11-A9D10960E425}" dt="2021-04-19T14:37:38.395" v="386" actId="26606"/>
          <ac:spMkLst>
            <pc:docMk/>
            <pc:sldMk cId="0" sldId="258"/>
            <ac:spMk id="9" creationId="{E2384209-CB15-4CDF-9D31-C44FD9A3F20D}"/>
          </ac:spMkLst>
        </pc:spChg>
        <pc:spChg chg="add">
          <ac:chgData name="Deshpande, Mayuri (T RDA FOA PAE-US)" userId="307bd999-17dd-4997-b1e2-139127ad27ac" providerId="ADAL" clId="{179BC8E9-6240-4755-8B11-A9D10960E425}" dt="2021-04-19T14:37:38.395" v="386" actId="26606"/>
          <ac:spMkLst>
            <pc:docMk/>
            <pc:sldMk cId="0" sldId="258"/>
            <ac:spMk id="11" creationId="{2633B3B5-CC90-43F0-8714-D31D1F3F0209}"/>
          </ac:spMkLst>
        </pc:spChg>
        <pc:spChg chg="add">
          <ac:chgData name="Deshpande, Mayuri (T RDA FOA PAE-US)" userId="307bd999-17dd-4997-b1e2-139127ad27ac" providerId="ADAL" clId="{179BC8E9-6240-4755-8B11-A9D10960E425}" dt="2021-04-19T14:37:38.395" v="386" actId="26606"/>
          <ac:spMkLst>
            <pc:docMk/>
            <pc:sldMk cId="0" sldId="258"/>
            <ac:spMk id="13" creationId="{A8D57A06-A426-446D-B02C-A2DC6B62E45E}"/>
          </ac:spMkLst>
        </pc:spChg>
        <pc:picChg chg="mod">
          <ac:chgData name="Deshpande, Mayuri (T RDA FOA PAE-US)" userId="307bd999-17dd-4997-b1e2-139127ad27ac" providerId="ADAL" clId="{179BC8E9-6240-4755-8B11-A9D10960E425}" dt="2021-04-19T14:37:38.395" v="386" actId="26606"/>
          <ac:picMkLst>
            <pc:docMk/>
            <pc:sldMk cId="0" sldId="258"/>
            <ac:picMk id="2" creationId="{A2D24BE8-AA61-4881-AB4E-4AA07BA82D01}"/>
          </ac:picMkLst>
        </pc:picChg>
      </pc:sldChg>
      <pc:sldChg chg="addSp modSp add del mod setBg modNotes">
        <pc:chgData name="Deshpande, Mayuri (T RDA FOA PAE-US)" userId="307bd999-17dd-4997-b1e2-139127ad27ac" providerId="ADAL" clId="{179BC8E9-6240-4755-8B11-A9D10960E425}" dt="2021-04-20T11:00:05.244" v="1789" actId="47"/>
        <pc:sldMkLst>
          <pc:docMk/>
          <pc:sldMk cId="4250299241" sldId="260"/>
        </pc:sldMkLst>
        <pc:spChg chg="add">
          <ac:chgData name="Deshpande, Mayuri (T RDA FOA PAE-US)" userId="307bd999-17dd-4997-b1e2-139127ad27ac" providerId="ADAL" clId="{179BC8E9-6240-4755-8B11-A9D10960E425}" dt="2021-04-19T14:37:33.221" v="385" actId="26606"/>
          <ac:spMkLst>
            <pc:docMk/>
            <pc:sldMk cId="4250299241" sldId="260"/>
            <ac:spMk id="7" creationId="{AB8C311F-7253-4AED-9701-7FC0708C41C7}"/>
          </ac:spMkLst>
        </pc:spChg>
        <pc:spChg chg="add mod">
          <ac:chgData name="Deshpande, Mayuri (T RDA FOA PAE-US)" userId="307bd999-17dd-4997-b1e2-139127ad27ac" providerId="ADAL" clId="{179BC8E9-6240-4755-8B11-A9D10960E425}" dt="2021-04-19T14:48:26.831" v="497"/>
          <ac:spMkLst>
            <pc:docMk/>
            <pc:sldMk cId="4250299241" sldId="260"/>
            <ac:spMk id="8" creationId="{06ED0DC8-18F7-4A32-99A1-713A0F57777F}"/>
          </ac:spMkLst>
        </pc:spChg>
        <pc:spChg chg="add">
          <ac:chgData name="Deshpande, Mayuri (T RDA FOA PAE-US)" userId="307bd999-17dd-4997-b1e2-139127ad27ac" providerId="ADAL" clId="{179BC8E9-6240-4755-8B11-A9D10960E425}" dt="2021-04-19T14:37:33.221" v="385" actId="26606"/>
          <ac:spMkLst>
            <pc:docMk/>
            <pc:sldMk cId="4250299241" sldId="260"/>
            <ac:spMk id="9" creationId="{E2384209-CB15-4CDF-9D31-C44FD9A3F20D}"/>
          </ac:spMkLst>
        </pc:spChg>
        <pc:spChg chg="add">
          <ac:chgData name="Deshpande, Mayuri (T RDA FOA PAE-US)" userId="307bd999-17dd-4997-b1e2-139127ad27ac" providerId="ADAL" clId="{179BC8E9-6240-4755-8B11-A9D10960E425}" dt="2021-04-19T14:37:33.221" v="385" actId="26606"/>
          <ac:spMkLst>
            <pc:docMk/>
            <pc:sldMk cId="4250299241" sldId="260"/>
            <ac:spMk id="11" creationId="{2633B3B5-CC90-43F0-8714-D31D1F3F0209}"/>
          </ac:spMkLst>
        </pc:spChg>
        <pc:spChg chg="add">
          <ac:chgData name="Deshpande, Mayuri (T RDA FOA PAE-US)" userId="307bd999-17dd-4997-b1e2-139127ad27ac" providerId="ADAL" clId="{179BC8E9-6240-4755-8B11-A9D10960E425}" dt="2021-04-19T14:37:33.221" v="385" actId="26606"/>
          <ac:spMkLst>
            <pc:docMk/>
            <pc:sldMk cId="4250299241" sldId="260"/>
            <ac:spMk id="13" creationId="{A8D57A06-A426-446D-B02C-A2DC6B62E45E}"/>
          </ac:spMkLst>
        </pc:spChg>
        <pc:picChg chg="mod">
          <ac:chgData name="Deshpande, Mayuri (T RDA FOA PAE-US)" userId="307bd999-17dd-4997-b1e2-139127ad27ac" providerId="ADAL" clId="{179BC8E9-6240-4755-8B11-A9D10960E425}" dt="2021-04-19T14:37:33.221" v="385" actId="26606"/>
          <ac:picMkLst>
            <pc:docMk/>
            <pc:sldMk cId="4250299241" sldId="260"/>
            <ac:picMk id="2" creationId="{8D791241-7E35-4969-B589-361003461C1B}"/>
          </ac:picMkLst>
        </pc:picChg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1089399300" sldId="262"/>
        </pc:sldMkLst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1036498170" sldId="263"/>
        </pc:sldMkLst>
      </pc:sldChg>
      <pc:sldChg chg="del">
        <pc:chgData name="Deshpande, Mayuri (T RDA FOA PAE-US)" userId="307bd999-17dd-4997-b1e2-139127ad27ac" providerId="ADAL" clId="{179BC8E9-6240-4755-8B11-A9D10960E425}" dt="2021-04-19T14:49:50.591" v="506" actId="47"/>
        <pc:sldMkLst>
          <pc:docMk/>
          <pc:sldMk cId="3044083358" sldId="268"/>
        </pc:sldMkLst>
      </pc:sldChg>
      <pc:sldChg chg="addSp modSp add del mod">
        <pc:chgData name="Deshpande, Mayuri (T RDA FOA PAE-US)" userId="307bd999-17dd-4997-b1e2-139127ad27ac" providerId="ADAL" clId="{179BC8E9-6240-4755-8B11-A9D10960E425}" dt="2021-04-19T22:56:37.087" v="1574" actId="47"/>
        <pc:sldMkLst>
          <pc:docMk/>
          <pc:sldMk cId="2772057799" sldId="269"/>
        </pc:sldMkLst>
        <pc:spChg chg="mod">
          <ac:chgData name="Deshpande, Mayuri (T RDA FOA PAE-US)" userId="307bd999-17dd-4997-b1e2-139127ad27ac" providerId="ADAL" clId="{179BC8E9-6240-4755-8B11-A9D10960E425}" dt="2021-04-19T22:53:12.089" v="1539" actId="1076"/>
          <ac:spMkLst>
            <pc:docMk/>
            <pc:sldMk cId="2772057799" sldId="269"/>
            <ac:spMk id="2" creationId="{B029E94C-D7A9-45CA-824D-C249B70F72C4}"/>
          </ac:spMkLst>
        </pc:spChg>
        <pc:spChg chg="add mod">
          <ac:chgData name="Deshpande, Mayuri (T RDA FOA PAE-US)" userId="307bd999-17dd-4997-b1e2-139127ad27ac" providerId="ADAL" clId="{179BC8E9-6240-4755-8B11-A9D10960E425}" dt="2021-04-19T14:48:04.694" v="485"/>
          <ac:spMkLst>
            <pc:docMk/>
            <pc:sldMk cId="2772057799" sldId="269"/>
            <ac:spMk id="6" creationId="{DD7DC89F-372D-4BCB-A721-145A36568824}"/>
          </ac:spMkLst>
        </pc:spChg>
      </pc:sldChg>
      <pc:sldChg chg="addSp modSp add del mod">
        <pc:chgData name="Deshpande, Mayuri (T RDA FOA PAE-US)" userId="307bd999-17dd-4997-b1e2-139127ad27ac" providerId="ADAL" clId="{179BC8E9-6240-4755-8B11-A9D10960E425}" dt="2021-04-19T23:07:44.578" v="1756" actId="20577"/>
        <pc:sldMkLst>
          <pc:docMk/>
          <pc:sldMk cId="295320917" sldId="270"/>
        </pc:sldMkLst>
        <pc:spChg chg="add mod">
          <ac:chgData name="Deshpande, Mayuri (T RDA FOA PAE-US)" userId="307bd999-17dd-4997-b1e2-139127ad27ac" providerId="ADAL" clId="{179BC8E9-6240-4755-8B11-A9D10960E425}" dt="2021-04-19T23:07:44.578" v="1756" actId="20577"/>
          <ac:spMkLst>
            <pc:docMk/>
            <pc:sldMk cId="295320917" sldId="270"/>
            <ac:spMk id="4" creationId="{EB120D92-4064-427B-A7F8-9B6B7B608DF3}"/>
          </ac:spMkLst>
        </pc:spChg>
      </pc:sldChg>
      <pc:sldChg chg="addSp modSp add del mod">
        <pc:chgData name="Deshpande, Mayuri (T RDA FOA PAE-US)" userId="307bd999-17dd-4997-b1e2-139127ad27ac" providerId="ADAL" clId="{179BC8E9-6240-4755-8B11-A9D10960E425}" dt="2021-04-19T22:58:14.986" v="1589" actId="47"/>
        <pc:sldMkLst>
          <pc:docMk/>
          <pc:sldMk cId="1833066551" sldId="273"/>
        </pc:sldMkLst>
        <pc:spChg chg="mod">
          <ac:chgData name="Deshpande, Mayuri (T RDA FOA PAE-US)" userId="307bd999-17dd-4997-b1e2-139127ad27ac" providerId="ADAL" clId="{179BC8E9-6240-4755-8B11-A9D10960E425}" dt="2021-04-19T14:51:55.179" v="515"/>
          <ac:spMkLst>
            <pc:docMk/>
            <pc:sldMk cId="1833066551" sldId="273"/>
            <ac:spMk id="2" creationId="{B029E94C-D7A9-45CA-824D-C249B70F72C4}"/>
          </ac:spMkLst>
        </pc:spChg>
        <pc:spChg chg="mod">
          <ac:chgData name="Deshpande, Mayuri (T RDA FOA PAE-US)" userId="307bd999-17dd-4997-b1e2-139127ad27ac" providerId="ADAL" clId="{179BC8E9-6240-4755-8B11-A9D10960E425}" dt="2021-04-19T20:00:04.040" v="1146" actId="20577"/>
          <ac:spMkLst>
            <pc:docMk/>
            <pc:sldMk cId="1833066551" sldId="273"/>
            <ac:spMk id="11" creationId="{F01D36DB-C5CB-4CB2-A3CB-A9D63D1D05FD}"/>
          </ac:spMkLst>
        </pc:spChg>
        <pc:spChg chg="mod">
          <ac:chgData name="Deshpande, Mayuri (T RDA FOA PAE-US)" userId="307bd999-17dd-4997-b1e2-139127ad27ac" providerId="ADAL" clId="{179BC8E9-6240-4755-8B11-A9D10960E425}" dt="2021-04-19T14:16:33.689" v="266" actId="1076"/>
          <ac:spMkLst>
            <pc:docMk/>
            <pc:sldMk cId="1833066551" sldId="273"/>
            <ac:spMk id="12" creationId="{D37FC7F0-CD2B-415E-B4AF-ADCE05C94108}"/>
          </ac:spMkLst>
        </pc:spChg>
        <pc:spChg chg="mod">
          <ac:chgData name="Deshpande, Mayuri (T RDA FOA PAE-US)" userId="307bd999-17dd-4997-b1e2-139127ad27ac" providerId="ADAL" clId="{179BC8E9-6240-4755-8B11-A9D10960E425}" dt="2021-04-19T14:16:33.689" v="266" actId="1076"/>
          <ac:spMkLst>
            <pc:docMk/>
            <pc:sldMk cId="1833066551" sldId="273"/>
            <ac:spMk id="13" creationId="{C279080D-0B2B-43E3-AFCC-33462E04DCEC}"/>
          </ac:spMkLst>
        </pc:spChg>
        <pc:spChg chg="mod">
          <ac:chgData name="Deshpande, Mayuri (T RDA FOA PAE-US)" userId="307bd999-17dd-4997-b1e2-139127ad27ac" providerId="ADAL" clId="{179BC8E9-6240-4755-8B11-A9D10960E425}" dt="2021-04-19T14:16:19.634" v="263" actId="1076"/>
          <ac:spMkLst>
            <pc:docMk/>
            <pc:sldMk cId="1833066551" sldId="273"/>
            <ac:spMk id="14" creationId="{39089F82-B9AA-49A1-9E22-77733385FC68}"/>
          </ac:spMkLst>
        </pc:spChg>
        <pc:spChg chg="mod">
          <ac:chgData name="Deshpande, Mayuri (T RDA FOA PAE-US)" userId="307bd999-17dd-4997-b1e2-139127ad27ac" providerId="ADAL" clId="{179BC8E9-6240-4755-8B11-A9D10960E425}" dt="2021-04-19T14:16:19.634" v="263" actId="1076"/>
          <ac:spMkLst>
            <pc:docMk/>
            <pc:sldMk cId="1833066551" sldId="273"/>
            <ac:spMk id="15" creationId="{A57AA290-038C-42EC-BAD7-5CFB87DC604E}"/>
          </ac:spMkLst>
        </pc:spChg>
        <pc:spChg chg="add mod">
          <ac:chgData name="Deshpande, Mayuri (T RDA FOA PAE-US)" userId="307bd999-17dd-4997-b1e2-139127ad27ac" providerId="ADAL" clId="{179BC8E9-6240-4755-8B11-A9D10960E425}" dt="2021-04-19T14:48:13.917" v="490"/>
          <ac:spMkLst>
            <pc:docMk/>
            <pc:sldMk cId="1833066551" sldId="273"/>
            <ac:spMk id="16" creationId="{15B9DBEC-4925-4B4B-BFAD-8A545CE3F377}"/>
          </ac:spMkLst>
        </pc:spChg>
        <pc:picChg chg="mod">
          <ac:chgData name="Deshpande, Mayuri (T RDA FOA PAE-US)" userId="307bd999-17dd-4997-b1e2-139127ad27ac" providerId="ADAL" clId="{179BC8E9-6240-4755-8B11-A9D10960E425}" dt="2021-04-19T14:16:33.689" v="266" actId="1076"/>
          <ac:picMkLst>
            <pc:docMk/>
            <pc:sldMk cId="1833066551" sldId="273"/>
            <ac:picMk id="4" creationId="{1527E120-ED45-44D5-875C-A6EBA76C90C7}"/>
          </ac:picMkLst>
        </pc:picChg>
        <pc:picChg chg="mod">
          <ac:chgData name="Deshpande, Mayuri (T RDA FOA PAE-US)" userId="307bd999-17dd-4997-b1e2-139127ad27ac" providerId="ADAL" clId="{179BC8E9-6240-4755-8B11-A9D10960E425}" dt="2021-04-19T14:16:33.689" v="266" actId="1076"/>
          <ac:picMkLst>
            <pc:docMk/>
            <pc:sldMk cId="1833066551" sldId="273"/>
            <ac:picMk id="6" creationId="{DE96E27D-2ECF-4123-8FF4-8AFFC9E5676F}"/>
          </ac:picMkLst>
        </pc:picChg>
        <pc:picChg chg="mod">
          <ac:chgData name="Deshpande, Mayuri (T RDA FOA PAE-US)" userId="307bd999-17dd-4997-b1e2-139127ad27ac" providerId="ADAL" clId="{179BC8E9-6240-4755-8B11-A9D10960E425}" dt="2021-04-19T14:16:19.634" v="263" actId="1076"/>
          <ac:picMkLst>
            <pc:docMk/>
            <pc:sldMk cId="1833066551" sldId="273"/>
            <ac:picMk id="8" creationId="{0A824E0F-ECDF-4365-9CF6-C7745A0D6FA5}"/>
          </ac:picMkLst>
        </pc:picChg>
        <pc:picChg chg="mod">
          <ac:chgData name="Deshpande, Mayuri (T RDA FOA PAE-US)" userId="307bd999-17dd-4997-b1e2-139127ad27ac" providerId="ADAL" clId="{179BC8E9-6240-4755-8B11-A9D10960E425}" dt="2021-04-19T14:16:19.634" v="263" actId="1076"/>
          <ac:picMkLst>
            <pc:docMk/>
            <pc:sldMk cId="1833066551" sldId="273"/>
            <ac:picMk id="10" creationId="{0EECCCDF-45A9-4B0E-B77A-6A508981584D}"/>
          </ac:picMkLst>
        </pc:picChg>
      </pc:sldChg>
      <pc:sldChg chg="addSp modSp add del mod">
        <pc:chgData name="Deshpande, Mayuri (T RDA FOA PAE-US)" userId="307bd999-17dd-4997-b1e2-139127ad27ac" providerId="ADAL" clId="{179BC8E9-6240-4755-8B11-A9D10960E425}" dt="2021-04-19T22:56:39.193" v="1575" actId="47"/>
        <pc:sldMkLst>
          <pc:docMk/>
          <pc:sldMk cId="2396142416" sldId="274"/>
        </pc:sldMkLst>
        <pc:spChg chg="mod">
          <ac:chgData name="Deshpande, Mayuri (T RDA FOA PAE-US)" userId="307bd999-17dd-4997-b1e2-139127ad27ac" providerId="ADAL" clId="{179BC8E9-6240-4755-8B11-A9D10960E425}" dt="2021-04-19T14:55:57.227" v="570" actId="404"/>
          <ac:spMkLst>
            <pc:docMk/>
            <pc:sldMk cId="2396142416" sldId="274"/>
            <ac:spMk id="2" creationId="{626EF3AF-7570-4042-BF8D-D74417C7BA43}"/>
          </ac:spMkLst>
        </pc:spChg>
        <pc:spChg chg="add mod">
          <ac:chgData name="Deshpande, Mayuri (T RDA FOA PAE-US)" userId="307bd999-17dd-4997-b1e2-139127ad27ac" providerId="ADAL" clId="{179BC8E9-6240-4755-8B11-A9D10960E425}" dt="2021-04-19T14:48:06.625" v="486"/>
          <ac:spMkLst>
            <pc:docMk/>
            <pc:sldMk cId="2396142416" sldId="274"/>
            <ac:spMk id="13" creationId="{A6F868A5-7A53-46CE-80CD-4DFE9ECE4ED6}"/>
          </ac:spMkLst>
        </pc:spChg>
      </pc:sldChg>
      <pc:sldChg chg="addSp modSp add del mod">
        <pc:chgData name="Deshpande, Mayuri (T RDA FOA PAE-US)" userId="307bd999-17dd-4997-b1e2-139127ad27ac" providerId="ADAL" clId="{179BC8E9-6240-4755-8B11-A9D10960E425}" dt="2021-04-19T22:52:13.758" v="1536" actId="47"/>
        <pc:sldMkLst>
          <pc:docMk/>
          <pc:sldMk cId="2792579547" sldId="275"/>
        </pc:sldMkLst>
        <pc:spChg chg="mod">
          <ac:chgData name="Deshpande, Mayuri (T RDA FOA PAE-US)" userId="307bd999-17dd-4997-b1e2-139127ad27ac" providerId="ADAL" clId="{179BC8E9-6240-4755-8B11-A9D10960E425}" dt="2021-04-19T14:55:50.776" v="569" actId="255"/>
          <ac:spMkLst>
            <pc:docMk/>
            <pc:sldMk cId="2792579547" sldId="275"/>
            <ac:spMk id="2" creationId="{F782D54D-F9CD-4FE8-BB50-F5726249D3AE}"/>
          </ac:spMkLst>
        </pc:spChg>
        <pc:spChg chg="add mod">
          <ac:chgData name="Deshpande, Mayuri (T RDA FOA PAE-US)" userId="307bd999-17dd-4997-b1e2-139127ad27ac" providerId="ADAL" clId="{179BC8E9-6240-4755-8B11-A9D10960E425}" dt="2021-04-19T14:48:08.246" v="487"/>
          <ac:spMkLst>
            <pc:docMk/>
            <pc:sldMk cId="2792579547" sldId="275"/>
            <ac:spMk id="7" creationId="{312BFD56-8E30-4764-9C40-5A06029EC7C2}"/>
          </ac:spMkLst>
        </pc:spChg>
      </pc:sldChg>
      <pc:sldChg chg="addSp modSp add del mod ord">
        <pc:chgData name="Deshpande, Mayuri (T RDA FOA PAE-US)" userId="307bd999-17dd-4997-b1e2-139127ad27ac" providerId="ADAL" clId="{179BC8E9-6240-4755-8B11-A9D10960E425}" dt="2021-04-19T20:00:21.716" v="1148"/>
        <pc:sldMkLst>
          <pc:docMk/>
          <pc:sldMk cId="2524126544" sldId="276"/>
        </pc:sldMkLst>
        <pc:spChg chg="mod">
          <ac:chgData name="Deshpande, Mayuri (T RDA FOA PAE-US)" userId="307bd999-17dd-4997-b1e2-139127ad27ac" providerId="ADAL" clId="{179BC8E9-6240-4755-8B11-A9D10960E425}" dt="2021-04-19T14:55:38.148" v="568"/>
          <ac:spMkLst>
            <pc:docMk/>
            <pc:sldMk cId="2524126544" sldId="276"/>
            <ac:spMk id="2" creationId="{BFBF876B-0959-44B1-90C1-AFF2A46EF9C5}"/>
          </ac:spMkLst>
        </pc:spChg>
        <pc:spChg chg="add mod">
          <ac:chgData name="Deshpande, Mayuri (T RDA FOA PAE-US)" userId="307bd999-17dd-4997-b1e2-139127ad27ac" providerId="ADAL" clId="{179BC8E9-6240-4755-8B11-A9D10960E425}" dt="2021-04-19T14:48:12.127" v="489"/>
          <ac:spMkLst>
            <pc:docMk/>
            <pc:sldMk cId="2524126544" sldId="276"/>
            <ac:spMk id="5" creationId="{E2EC6318-5B9A-4D9D-9589-641040837115}"/>
          </ac:spMkLst>
        </pc:spChg>
      </pc:sldChg>
      <pc:sldChg chg="del">
        <pc:chgData name="Deshpande, Mayuri (T RDA FOA PAE-US)" userId="307bd999-17dd-4997-b1e2-139127ad27ac" providerId="ADAL" clId="{179BC8E9-6240-4755-8B11-A9D10960E425}" dt="2021-04-19T14:49:51.703" v="507" actId="47"/>
        <pc:sldMkLst>
          <pc:docMk/>
          <pc:sldMk cId="3061920705" sldId="341"/>
        </pc:sldMkLst>
      </pc:sldChg>
      <pc:sldChg chg="addSp delSp modSp add del mod">
        <pc:chgData name="Deshpande, Mayuri (T RDA FOA PAE-US)" userId="307bd999-17dd-4997-b1e2-139127ad27ac" providerId="ADAL" clId="{179BC8E9-6240-4755-8B11-A9D10960E425}" dt="2021-04-19T23:00:58.527" v="1607" actId="47"/>
        <pc:sldMkLst>
          <pc:docMk/>
          <pc:sldMk cId="3293029024" sldId="910"/>
        </pc:sldMkLst>
        <pc:spChg chg="mod">
          <ac:chgData name="Deshpande, Mayuri (T RDA FOA PAE-US)" userId="307bd999-17dd-4997-b1e2-139127ad27ac" providerId="ADAL" clId="{179BC8E9-6240-4755-8B11-A9D10960E425}" dt="2021-04-19T14:53:06.167" v="528" actId="20577"/>
          <ac:spMkLst>
            <pc:docMk/>
            <pc:sldMk cId="3293029024" sldId="910"/>
            <ac:spMk id="2" creationId="{F613C9F5-FA2F-40FB-81A2-9B38DAF3B3A4}"/>
          </ac:spMkLst>
        </pc:spChg>
        <pc:spChg chg="mod">
          <ac:chgData name="Deshpande, Mayuri (T RDA FOA PAE-US)" userId="307bd999-17dd-4997-b1e2-139127ad27ac" providerId="ADAL" clId="{179BC8E9-6240-4755-8B11-A9D10960E425}" dt="2021-04-19T14:37:18.336" v="384" actId="14100"/>
          <ac:spMkLst>
            <pc:docMk/>
            <pc:sldMk cId="3293029024" sldId="910"/>
            <ac:spMk id="6" creationId="{CD44C8AC-94E1-4E59-A289-654D5BF0108E}"/>
          </ac:spMkLst>
        </pc:spChg>
        <pc:spChg chg="mod">
          <ac:chgData name="Deshpande, Mayuri (T RDA FOA PAE-US)" userId="307bd999-17dd-4997-b1e2-139127ad27ac" providerId="ADAL" clId="{179BC8E9-6240-4755-8B11-A9D10960E425}" dt="2021-04-19T14:36:20.083" v="373" actId="14100"/>
          <ac:spMkLst>
            <pc:docMk/>
            <pc:sldMk cId="3293029024" sldId="910"/>
            <ac:spMk id="24" creationId="{5471CE6A-85B1-4E5E-B347-0E50271AFFDD}"/>
          </ac:spMkLst>
        </pc:spChg>
        <pc:spChg chg="mod">
          <ac:chgData name="Deshpande, Mayuri (T RDA FOA PAE-US)" userId="307bd999-17dd-4997-b1e2-139127ad27ac" providerId="ADAL" clId="{179BC8E9-6240-4755-8B11-A9D10960E425}" dt="2021-04-19T14:36:00.333" v="370" actId="14100"/>
          <ac:spMkLst>
            <pc:docMk/>
            <pc:sldMk cId="3293029024" sldId="910"/>
            <ac:spMk id="25" creationId="{56EA2116-384B-4D14-AF9F-B501EF94FF34}"/>
          </ac:spMkLst>
        </pc:spChg>
        <pc:spChg chg="mod">
          <ac:chgData name="Deshpande, Mayuri (T RDA FOA PAE-US)" userId="307bd999-17dd-4997-b1e2-139127ad27ac" providerId="ADAL" clId="{179BC8E9-6240-4755-8B11-A9D10960E425}" dt="2021-04-19T14:36:03.421" v="371" actId="1076"/>
          <ac:spMkLst>
            <pc:docMk/>
            <pc:sldMk cId="3293029024" sldId="910"/>
            <ac:spMk id="26" creationId="{B559891C-2838-4371-B292-E2B4F5D9F278}"/>
          </ac:spMkLst>
        </pc:spChg>
        <pc:spChg chg="mod">
          <ac:chgData name="Deshpande, Mayuri (T RDA FOA PAE-US)" userId="307bd999-17dd-4997-b1e2-139127ad27ac" providerId="ADAL" clId="{179BC8E9-6240-4755-8B11-A9D10960E425}" dt="2021-04-19T14:34:57.333" v="362" actId="14100"/>
          <ac:spMkLst>
            <pc:docMk/>
            <pc:sldMk cId="3293029024" sldId="910"/>
            <ac:spMk id="27" creationId="{87DC0DAB-0A3D-4C29-B933-4865D458B346}"/>
          </ac:spMkLst>
        </pc:spChg>
        <pc:spChg chg="mod">
          <ac:chgData name="Deshpande, Mayuri (T RDA FOA PAE-US)" userId="307bd999-17dd-4997-b1e2-139127ad27ac" providerId="ADAL" clId="{179BC8E9-6240-4755-8B11-A9D10960E425}" dt="2021-04-19T14:34:43.984" v="358" actId="14100"/>
          <ac:spMkLst>
            <pc:docMk/>
            <pc:sldMk cId="3293029024" sldId="910"/>
            <ac:spMk id="28" creationId="{8D0A2D17-E1AD-4921-9E52-5B4CF339DCDD}"/>
          </ac:spMkLst>
        </pc:spChg>
        <pc:spChg chg="mod">
          <ac:chgData name="Deshpande, Mayuri (T RDA FOA PAE-US)" userId="307bd999-17dd-4997-b1e2-139127ad27ac" providerId="ADAL" clId="{179BC8E9-6240-4755-8B11-A9D10960E425}" dt="2021-04-19T14:34:47.107" v="359" actId="14100"/>
          <ac:spMkLst>
            <pc:docMk/>
            <pc:sldMk cId="3293029024" sldId="910"/>
            <ac:spMk id="29" creationId="{68F4794C-B9BC-4C5D-8362-F8B0FFEF650B}"/>
          </ac:spMkLst>
        </pc:spChg>
        <pc:spChg chg="mod">
          <ac:chgData name="Deshpande, Mayuri (T RDA FOA PAE-US)" userId="307bd999-17dd-4997-b1e2-139127ad27ac" providerId="ADAL" clId="{179BC8E9-6240-4755-8B11-A9D10960E425}" dt="2021-04-19T14:34:51.023" v="360" actId="14100"/>
          <ac:spMkLst>
            <pc:docMk/>
            <pc:sldMk cId="3293029024" sldId="910"/>
            <ac:spMk id="30" creationId="{6275DE63-115F-4881-9347-3EF88BE20F33}"/>
          </ac:spMkLst>
        </pc:spChg>
        <pc:spChg chg="mod">
          <ac:chgData name="Deshpande, Mayuri (T RDA FOA PAE-US)" userId="307bd999-17dd-4997-b1e2-139127ad27ac" providerId="ADAL" clId="{179BC8E9-6240-4755-8B11-A9D10960E425}" dt="2021-04-19T14:20:31.401" v="306" actId="164"/>
          <ac:spMkLst>
            <pc:docMk/>
            <pc:sldMk cId="3293029024" sldId="910"/>
            <ac:spMk id="31" creationId="{380635A7-3BD7-451F-8EDD-E3337462D96D}"/>
          </ac:spMkLst>
        </pc:spChg>
        <pc:spChg chg="mod">
          <ac:chgData name="Deshpande, Mayuri (T RDA FOA PAE-US)" userId="307bd999-17dd-4997-b1e2-139127ad27ac" providerId="ADAL" clId="{179BC8E9-6240-4755-8B11-A9D10960E425}" dt="2021-04-19T14:34:53.871" v="361" actId="14100"/>
          <ac:spMkLst>
            <pc:docMk/>
            <pc:sldMk cId="3293029024" sldId="910"/>
            <ac:spMk id="32" creationId="{5AED99D4-BC29-44A5-BD84-F68BBC0785ED}"/>
          </ac:spMkLst>
        </pc:spChg>
        <pc:spChg chg="add mod">
          <ac:chgData name="Deshpande, Mayuri (T RDA FOA PAE-US)" userId="307bd999-17dd-4997-b1e2-139127ad27ac" providerId="ADAL" clId="{179BC8E9-6240-4755-8B11-A9D10960E425}" dt="2021-04-19T14:48:21.335" v="494"/>
          <ac:spMkLst>
            <pc:docMk/>
            <pc:sldMk cId="3293029024" sldId="910"/>
            <ac:spMk id="55" creationId="{93360A2D-D703-4384-A1C0-0CDD73D97E74}"/>
          </ac:spMkLst>
        </pc:spChg>
        <pc:spChg chg="mod">
          <ac:chgData name="Deshpande, Mayuri (T RDA FOA PAE-US)" userId="307bd999-17dd-4997-b1e2-139127ad27ac" providerId="ADAL" clId="{179BC8E9-6240-4755-8B11-A9D10960E425}" dt="2021-04-19T22:59:48.299" v="1599"/>
          <ac:spMkLst>
            <pc:docMk/>
            <pc:sldMk cId="3293029024" sldId="910"/>
            <ac:spMk id="58" creationId="{3FCC25C5-95E4-425C-910C-4A2722E35943}"/>
          </ac:spMkLst>
        </pc:spChg>
        <pc:spChg chg="mod">
          <ac:chgData name="Deshpande, Mayuri (T RDA FOA PAE-US)" userId="307bd999-17dd-4997-b1e2-139127ad27ac" providerId="ADAL" clId="{179BC8E9-6240-4755-8B11-A9D10960E425}" dt="2021-04-19T22:59:48.299" v="1599"/>
          <ac:spMkLst>
            <pc:docMk/>
            <pc:sldMk cId="3293029024" sldId="910"/>
            <ac:spMk id="59" creationId="{86653B9B-74A2-48B5-BDD0-694F46BFAA04}"/>
          </ac:spMkLst>
        </pc:spChg>
        <pc:spChg chg="mod">
          <ac:chgData name="Deshpande, Mayuri (T RDA FOA PAE-US)" userId="307bd999-17dd-4997-b1e2-139127ad27ac" providerId="ADAL" clId="{179BC8E9-6240-4755-8B11-A9D10960E425}" dt="2021-04-19T22:59:48.299" v="1599"/>
          <ac:spMkLst>
            <pc:docMk/>
            <pc:sldMk cId="3293029024" sldId="910"/>
            <ac:spMk id="60" creationId="{EDCEF803-21C1-4B22-9A11-7049A751EAAE}"/>
          </ac:spMkLst>
        </pc:spChg>
        <pc:spChg chg="mod">
          <ac:chgData name="Deshpande, Mayuri (T RDA FOA PAE-US)" userId="307bd999-17dd-4997-b1e2-139127ad27ac" providerId="ADAL" clId="{179BC8E9-6240-4755-8B11-A9D10960E425}" dt="2021-04-19T22:59:48.299" v="1599"/>
          <ac:spMkLst>
            <pc:docMk/>
            <pc:sldMk cId="3293029024" sldId="910"/>
            <ac:spMk id="62" creationId="{AAD60166-D23B-4A1C-8287-9F1B159A31A5}"/>
          </ac:spMkLst>
        </pc:spChg>
        <pc:spChg chg="mod">
          <ac:chgData name="Deshpande, Mayuri (T RDA FOA PAE-US)" userId="307bd999-17dd-4997-b1e2-139127ad27ac" providerId="ADAL" clId="{179BC8E9-6240-4755-8B11-A9D10960E425}" dt="2021-04-19T22:59:48.299" v="1599"/>
          <ac:spMkLst>
            <pc:docMk/>
            <pc:sldMk cId="3293029024" sldId="910"/>
            <ac:spMk id="63" creationId="{6589901A-F972-4B8E-A8D0-6EFB099789ED}"/>
          </ac:spMkLst>
        </pc:spChg>
        <pc:spChg chg="mod">
          <ac:chgData name="Deshpande, Mayuri (T RDA FOA PAE-US)" userId="307bd999-17dd-4997-b1e2-139127ad27ac" providerId="ADAL" clId="{179BC8E9-6240-4755-8B11-A9D10960E425}" dt="2021-04-19T22:59:48.299" v="1599"/>
          <ac:spMkLst>
            <pc:docMk/>
            <pc:sldMk cId="3293029024" sldId="910"/>
            <ac:spMk id="64" creationId="{0F54623D-08BD-4E37-A7F0-E3122DDC248E}"/>
          </ac:spMkLst>
        </pc:spChg>
        <pc:spChg chg="mod">
          <ac:chgData name="Deshpande, Mayuri (T RDA FOA PAE-US)" userId="307bd999-17dd-4997-b1e2-139127ad27ac" providerId="ADAL" clId="{179BC8E9-6240-4755-8B11-A9D10960E425}" dt="2021-04-19T22:59:48.299" v="1599"/>
          <ac:spMkLst>
            <pc:docMk/>
            <pc:sldMk cId="3293029024" sldId="910"/>
            <ac:spMk id="65" creationId="{9D0C67FC-FB0A-4905-9125-71214B5FB8E4}"/>
          </ac:spMkLst>
        </pc:spChg>
        <pc:spChg chg="mod">
          <ac:chgData name="Deshpande, Mayuri (T RDA FOA PAE-US)" userId="307bd999-17dd-4997-b1e2-139127ad27ac" providerId="ADAL" clId="{179BC8E9-6240-4755-8B11-A9D10960E425}" dt="2021-04-19T22:59:48.299" v="1599"/>
          <ac:spMkLst>
            <pc:docMk/>
            <pc:sldMk cId="3293029024" sldId="910"/>
            <ac:spMk id="66" creationId="{167DE842-BB0B-4355-A821-A49322B18AD2}"/>
          </ac:spMkLst>
        </pc:spChg>
        <pc:spChg chg="mod">
          <ac:chgData name="Deshpande, Mayuri (T RDA FOA PAE-US)" userId="307bd999-17dd-4997-b1e2-139127ad27ac" providerId="ADAL" clId="{179BC8E9-6240-4755-8B11-A9D10960E425}" dt="2021-04-19T22:59:48.299" v="1599"/>
          <ac:spMkLst>
            <pc:docMk/>
            <pc:sldMk cId="3293029024" sldId="910"/>
            <ac:spMk id="67" creationId="{253A7979-8B27-41F7-B3B1-3D1217DD49E5}"/>
          </ac:spMkLst>
        </pc:spChg>
        <pc:grpChg chg="add del mod">
          <ac:chgData name="Deshpande, Mayuri (T RDA FOA PAE-US)" userId="307bd999-17dd-4997-b1e2-139127ad27ac" providerId="ADAL" clId="{179BC8E9-6240-4755-8B11-A9D10960E425}" dt="2021-04-19T22:59:47.971" v="1598" actId="478"/>
          <ac:grpSpMkLst>
            <pc:docMk/>
            <pc:sldMk cId="3293029024" sldId="910"/>
            <ac:grpSpMk id="5" creationId="{EAA6AEB4-5B20-4362-97BC-A68E592CF382}"/>
          </ac:grpSpMkLst>
        </pc:grpChg>
        <pc:grpChg chg="add mod">
          <ac:chgData name="Deshpande, Mayuri (T RDA FOA PAE-US)" userId="307bd999-17dd-4997-b1e2-139127ad27ac" providerId="ADAL" clId="{179BC8E9-6240-4755-8B11-A9D10960E425}" dt="2021-04-19T22:59:53.083" v="1600" actId="1076"/>
          <ac:grpSpMkLst>
            <pc:docMk/>
            <pc:sldMk cId="3293029024" sldId="910"/>
            <ac:grpSpMk id="56" creationId="{9C8F82F2-7417-4FFA-BC5B-36FB3A2C3E96}"/>
          </ac:grpSpMkLst>
        </pc:grpChg>
        <pc:grpChg chg="mod">
          <ac:chgData name="Deshpande, Mayuri (T RDA FOA PAE-US)" userId="307bd999-17dd-4997-b1e2-139127ad27ac" providerId="ADAL" clId="{179BC8E9-6240-4755-8B11-A9D10960E425}" dt="2021-04-19T22:59:48.299" v="1599"/>
          <ac:grpSpMkLst>
            <pc:docMk/>
            <pc:sldMk cId="3293029024" sldId="910"/>
            <ac:grpSpMk id="57" creationId="{FC2DF763-1CFC-40E1-A646-4EEA7B2E5FAE}"/>
          </ac:grpSpMkLst>
        </pc:grpChg>
        <pc:grpChg chg="mod">
          <ac:chgData name="Deshpande, Mayuri (T RDA FOA PAE-US)" userId="307bd999-17dd-4997-b1e2-139127ad27ac" providerId="ADAL" clId="{179BC8E9-6240-4755-8B11-A9D10960E425}" dt="2021-04-19T22:59:48.299" v="1599"/>
          <ac:grpSpMkLst>
            <pc:docMk/>
            <pc:sldMk cId="3293029024" sldId="910"/>
            <ac:grpSpMk id="61" creationId="{571A7DF6-CAA0-4584-A6BE-645A3A9D87EE}"/>
          </ac:grpSpMkLst>
        </pc:grpChg>
        <pc:graphicFrameChg chg="mod">
          <ac:chgData name="Deshpande, Mayuri (T RDA FOA PAE-US)" userId="307bd999-17dd-4997-b1e2-139127ad27ac" providerId="ADAL" clId="{179BC8E9-6240-4755-8B11-A9D10960E425}" dt="2021-04-19T14:36:56.321" v="379" actId="1076"/>
          <ac:graphicFrameMkLst>
            <pc:docMk/>
            <pc:sldMk cId="3293029024" sldId="910"/>
            <ac:graphicFrameMk id="44" creationId="{FFE15A6F-75D8-4C36-85A3-BE2730F40937}"/>
          </ac:graphicFrameMkLst>
        </pc:graphicFrameChg>
        <pc:picChg chg="mod">
          <ac:chgData name="Deshpande, Mayuri (T RDA FOA PAE-US)" userId="307bd999-17dd-4997-b1e2-139127ad27ac" providerId="ADAL" clId="{179BC8E9-6240-4755-8B11-A9D10960E425}" dt="2021-04-19T14:36:50.317" v="378" actId="1076"/>
          <ac:picMkLst>
            <pc:docMk/>
            <pc:sldMk cId="3293029024" sldId="910"/>
            <ac:picMk id="1028" creationId="{DD7B7FE0-D62D-41B4-8BD0-1186E82AA971}"/>
          </ac:picMkLst>
        </pc:picChg>
        <pc:cxnChg chg="mod">
          <ac:chgData name="Deshpande, Mayuri (T RDA FOA PAE-US)" userId="307bd999-17dd-4997-b1e2-139127ad27ac" providerId="ADAL" clId="{179BC8E9-6240-4755-8B11-A9D10960E425}" dt="2021-04-19T22:59:47.971" v="1598" actId="478"/>
          <ac:cxnSpMkLst>
            <pc:docMk/>
            <pc:sldMk cId="3293029024" sldId="910"/>
            <ac:cxnSpMk id="33" creationId="{F2DD3EFF-9B42-41B3-AD62-6211C7893F5B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7.971" v="1598" actId="478"/>
          <ac:cxnSpMkLst>
            <pc:docMk/>
            <pc:sldMk cId="3293029024" sldId="910"/>
            <ac:cxnSpMk id="34" creationId="{D759109B-BE0D-47FE-8DEC-42900E00FE06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7.971" v="1598" actId="478"/>
          <ac:cxnSpMkLst>
            <pc:docMk/>
            <pc:sldMk cId="3293029024" sldId="910"/>
            <ac:cxnSpMk id="35" creationId="{78DE8FAB-FA7E-4B42-9DF5-874319F5470C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7.971" v="1598" actId="478"/>
          <ac:cxnSpMkLst>
            <pc:docMk/>
            <pc:sldMk cId="3293029024" sldId="910"/>
            <ac:cxnSpMk id="36" creationId="{C8C68BB7-1FF2-4261-826B-3E882A772360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7.971" v="1598" actId="478"/>
          <ac:cxnSpMkLst>
            <pc:docMk/>
            <pc:sldMk cId="3293029024" sldId="910"/>
            <ac:cxnSpMk id="37" creationId="{5075DD81-A68B-443C-AE21-548CE9DD8B52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7.971" v="1598" actId="478"/>
          <ac:cxnSpMkLst>
            <pc:docMk/>
            <pc:sldMk cId="3293029024" sldId="910"/>
            <ac:cxnSpMk id="38" creationId="{25319BF1-1236-41F8-A3E2-81F6FD39C6BE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7.971" v="1598" actId="478"/>
          <ac:cxnSpMkLst>
            <pc:docMk/>
            <pc:sldMk cId="3293029024" sldId="910"/>
            <ac:cxnSpMk id="39" creationId="{BEC01C95-12DA-4B9F-8470-3C3B463ACADE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7.971" v="1598" actId="478"/>
          <ac:cxnSpMkLst>
            <pc:docMk/>
            <pc:sldMk cId="3293029024" sldId="910"/>
            <ac:cxnSpMk id="40" creationId="{79BDD84E-09F9-4E77-83B7-340CBA981D90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8.299" v="1599"/>
          <ac:cxnSpMkLst>
            <pc:docMk/>
            <pc:sldMk cId="3293029024" sldId="910"/>
            <ac:cxnSpMk id="68" creationId="{41E4031C-B8D0-4C82-B42F-3B437F1BBE84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8.299" v="1599"/>
          <ac:cxnSpMkLst>
            <pc:docMk/>
            <pc:sldMk cId="3293029024" sldId="910"/>
            <ac:cxnSpMk id="69" creationId="{A7FB39D8-C6F8-4987-9983-0E24112E98EF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8.299" v="1599"/>
          <ac:cxnSpMkLst>
            <pc:docMk/>
            <pc:sldMk cId="3293029024" sldId="910"/>
            <ac:cxnSpMk id="70" creationId="{B7711059-068B-43F9-9279-44F735461B4C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8.299" v="1599"/>
          <ac:cxnSpMkLst>
            <pc:docMk/>
            <pc:sldMk cId="3293029024" sldId="910"/>
            <ac:cxnSpMk id="71" creationId="{A13248D1-5790-4090-9EB8-DA58E0CA193F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8.299" v="1599"/>
          <ac:cxnSpMkLst>
            <pc:docMk/>
            <pc:sldMk cId="3293029024" sldId="910"/>
            <ac:cxnSpMk id="72" creationId="{D893FB1C-FDEF-42A2-B6D8-F9F042EFEA36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8.299" v="1599"/>
          <ac:cxnSpMkLst>
            <pc:docMk/>
            <pc:sldMk cId="3293029024" sldId="910"/>
            <ac:cxnSpMk id="73" creationId="{A7CF8FEB-0EB3-46D5-8772-2F53347567EA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8.299" v="1599"/>
          <ac:cxnSpMkLst>
            <pc:docMk/>
            <pc:sldMk cId="3293029024" sldId="910"/>
            <ac:cxnSpMk id="74" creationId="{2357F112-2281-4235-A86E-511DDCBEF992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48.299" v="1599"/>
          <ac:cxnSpMkLst>
            <pc:docMk/>
            <pc:sldMk cId="3293029024" sldId="910"/>
            <ac:cxnSpMk id="75" creationId="{DF84C749-7B2F-4B42-87CC-089715183E5C}"/>
          </ac:cxnSpMkLst>
        </pc:cxnChg>
      </pc:sldChg>
      <pc:sldChg chg="modSp add del mod">
        <pc:chgData name="Deshpande, Mayuri (T RDA FOA PAE-US)" userId="307bd999-17dd-4997-b1e2-139127ad27ac" providerId="ADAL" clId="{179BC8E9-6240-4755-8B11-A9D10960E425}" dt="2021-04-19T14:19:10.467" v="293" actId="47"/>
        <pc:sldMkLst>
          <pc:docMk/>
          <pc:sldMk cId="2593105225" sldId="1844"/>
        </pc:sldMkLst>
        <pc:spChg chg="mod">
          <ac:chgData name="Deshpande, Mayuri (T RDA FOA PAE-US)" userId="307bd999-17dd-4997-b1e2-139127ad27ac" providerId="ADAL" clId="{179BC8E9-6240-4755-8B11-A9D10960E425}" dt="2021-04-19T14:17:14.081" v="272" actId="1076"/>
          <ac:spMkLst>
            <pc:docMk/>
            <pc:sldMk cId="2593105225" sldId="1844"/>
            <ac:spMk id="2" creationId="{676C925B-BCE0-4728-81B0-647FFB4112A7}"/>
          </ac:spMkLst>
        </pc:spChg>
      </pc:sldChg>
      <pc:sldChg chg="modSp add del mod ord">
        <pc:chgData name="Deshpande, Mayuri (T RDA FOA PAE-US)" userId="307bd999-17dd-4997-b1e2-139127ad27ac" providerId="ADAL" clId="{179BC8E9-6240-4755-8B11-A9D10960E425}" dt="2021-04-19T14:46:34.554" v="475" actId="47"/>
        <pc:sldMkLst>
          <pc:docMk/>
          <pc:sldMk cId="3032382741" sldId="1850"/>
        </pc:sldMkLst>
        <pc:picChg chg="mod">
          <ac:chgData name="Deshpande, Mayuri (T RDA FOA PAE-US)" userId="307bd999-17dd-4997-b1e2-139127ad27ac" providerId="ADAL" clId="{179BC8E9-6240-4755-8B11-A9D10960E425}" dt="2021-04-19T14:38:25.479" v="389" actId="1076"/>
          <ac:picMkLst>
            <pc:docMk/>
            <pc:sldMk cId="3032382741" sldId="1850"/>
            <ac:picMk id="6" creationId="{44C40EF8-9727-4A7C-8B39-34AA57C5D945}"/>
          </ac:picMkLst>
        </pc:picChg>
      </pc:sldChg>
      <pc:sldChg chg="add del">
        <pc:chgData name="Deshpande, Mayuri (T RDA FOA PAE-US)" userId="307bd999-17dd-4997-b1e2-139127ad27ac" providerId="ADAL" clId="{179BC8E9-6240-4755-8B11-A9D10960E425}" dt="2021-04-19T14:19:15.841" v="294" actId="47"/>
        <pc:sldMkLst>
          <pc:docMk/>
          <pc:sldMk cId="1111667204" sldId="1851"/>
        </pc:sldMkLst>
      </pc:sldChg>
      <pc:sldChg chg="addSp delSp modSp add del mod">
        <pc:chgData name="Deshpande, Mayuri (T RDA FOA PAE-US)" userId="307bd999-17dd-4997-b1e2-139127ad27ac" providerId="ADAL" clId="{179BC8E9-6240-4755-8B11-A9D10960E425}" dt="2021-04-19T14:54:00.556" v="536" actId="47"/>
        <pc:sldMkLst>
          <pc:docMk/>
          <pc:sldMk cId="313729048" sldId="1854"/>
        </pc:sldMkLst>
        <pc:spChg chg="del mod">
          <ac:chgData name="Deshpande, Mayuri (T RDA FOA PAE-US)" userId="307bd999-17dd-4997-b1e2-139127ad27ac" providerId="ADAL" clId="{179BC8E9-6240-4755-8B11-A9D10960E425}" dt="2021-04-19T14:52:27.276" v="519" actId="478"/>
          <ac:spMkLst>
            <pc:docMk/>
            <pc:sldMk cId="313729048" sldId="1854"/>
            <ac:spMk id="2" creationId="{FB6A335C-7557-4A38-9174-5E9323E70F3E}"/>
          </ac:spMkLst>
        </pc:spChg>
        <pc:spChg chg="add mod">
          <ac:chgData name="Deshpande, Mayuri (T RDA FOA PAE-US)" userId="307bd999-17dd-4997-b1e2-139127ad27ac" providerId="ADAL" clId="{179BC8E9-6240-4755-8B11-A9D10960E425}" dt="2021-04-19T14:48:17.936" v="492"/>
          <ac:spMkLst>
            <pc:docMk/>
            <pc:sldMk cId="313729048" sldId="1854"/>
            <ac:spMk id="20" creationId="{AA15197B-9B31-475F-B141-926EEFB5DF6A}"/>
          </ac:spMkLst>
        </pc:spChg>
        <pc:spChg chg="add mod">
          <ac:chgData name="Deshpande, Mayuri (T RDA FOA PAE-US)" userId="307bd999-17dd-4997-b1e2-139127ad27ac" providerId="ADAL" clId="{179BC8E9-6240-4755-8B11-A9D10960E425}" dt="2021-04-19T14:53:35.913" v="532" actId="1076"/>
          <ac:spMkLst>
            <pc:docMk/>
            <pc:sldMk cId="313729048" sldId="1854"/>
            <ac:spMk id="21" creationId="{F807A896-C611-4B70-BC84-86CCF2A6154A}"/>
          </ac:spMkLst>
        </pc:spChg>
        <pc:spChg chg="add">
          <ac:chgData name="Deshpande, Mayuri (T RDA FOA PAE-US)" userId="307bd999-17dd-4997-b1e2-139127ad27ac" providerId="ADAL" clId="{179BC8E9-6240-4755-8B11-A9D10960E425}" dt="2021-04-19T14:53:13.965" v="529" actId="22"/>
          <ac:spMkLst>
            <pc:docMk/>
            <pc:sldMk cId="313729048" sldId="1854"/>
            <ac:spMk id="23" creationId="{B39447FB-F29F-4C41-AF78-E1009C88D613}"/>
          </ac:spMkLst>
        </pc:spChg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3069851502" sldId="1855"/>
        </pc:sldMkLst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4124649313" sldId="1856"/>
        </pc:sldMkLst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1105814489" sldId="1858"/>
        </pc:sldMkLst>
      </pc:sldChg>
      <pc:sldChg chg="addSp modSp add del mod">
        <pc:chgData name="Deshpande, Mayuri (T RDA FOA PAE-US)" userId="307bd999-17dd-4997-b1e2-139127ad27ac" providerId="ADAL" clId="{179BC8E9-6240-4755-8B11-A9D10960E425}" dt="2021-04-19T23:07:59.003" v="1764" actId="20577"/>
        <pc:sldMkLst>
          <pc:docMk/>
          <pc:sldMk cId="1854409877" sldId="1859"/>
        </pc:sldMkLst>
        <pc:spChg chg="add mod">
          <ac:chgData name="Deshpande, Mayuri (T RDA FOA PAE-US)" userId="307bd999-17dd-4997-b1e2-139127ad27ac" providerId="ADAL" clId="{179BC8E9-6240-4755-8B11-A9D10960E425}" dt="2021-04-19T23:07:59.003" v="1764" actId="20577"/>
          <ac:spMkLst>
            <pc:docMk/>
            <pc:sldMk cId="1854409877" sldId="1859"/>
            <ac:spMk id="7" creationId="{593F5E01-715C-4414-AC92-A2DDC7EABCDE}"/>
          </ac:spMkLst>
        </pc:spChg>
        <pc:picChg chg="mod">
          <ac:chgData name="Deshpande, Mayuri (T RDA FOA PAE-US)" userId="307bd999-17dd-4997-b1e2-139127ad27ac" providerId="ADAL" clId="{179BC8E9-6240-4755-8B11-A9D10960E425}" dt="2021-04-19T14:57:42.797" v="573" actId="1076"/>
          <ac:picMkLst>
            <pc:docMk/>
            <pc:sldMk cId="1854409877" sldId="1859"/>
            <ac:picMk id="3" creationId="{D090DB34-46EF-4E27-8A82-59575386B4E6}"/>
          </ac:picMkLst>
        </pc:picChg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1662054570" sldId="1861"/>
        </pc:sldMkLst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2798269884" sldId="1862"/>
        </pc:sldMkLst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1944250552" sldId="1863"/>
        </pc:sldMkLst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2981112362" sldId="1864"/>
        </pc:sldMkLst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2819986988" sldId="1866"/>
        </pc:sldMkLst>
      </pc:sldChg>
      <pc:sldChg chg="add del">
        <pc:chgData name="Deshpande, Mayuri (T RDA FOA PAE-US)" userId="307bd999-17dd-4997-b1e2-139127ad27ac" providerId="ADAL" clId="{179BC8E9-6240-4755-8B11-A9D10960E425}" dt="2021-04-19T14:49:33.984" v="502" actId="47"/>
        <pc:sldMkLst>
          <pc:docMk/>
          <pc:sldMk cId="1407377813" sldId="1868"/>
        </pc:sldMkLst>
      </pc:sldChg>
      <pc:sldChg chg="add del">
        <pc:chgData name="Deshpande, Mayuri (T RDA FOA PAE-US)" userId="307bd999-17dd-4997-b1e2-139127ad27ac" providerId="ADAL" clId="{179BC8E9-6240-4755-8B11-A9D10960E425}" dt="2021-04-19T14:05:19.229" v="182"/>
        <pc:sldMkLst>
          <pc:docMk/>
          <pc:sldMk cId="1732786958" sldId="1869"/>
        </pc:sldMkLst>
      </pc:sldChg>
      <pc:sldChg chg="modSp add del mod setBg">
        <pc:chgData name="Deshpande, Mayuri (T RDA FOA PAE-US)" userId="307bd999-17dd-4997-b1e2-139127ad27ac" providerId="ADAL" clId="{179BC8E9-6240-4755-8B11-A9D10960E425}" dt="2021-04-19T14:15:45.506" v="261" actId="47"/>
        <pc:sldMkLst>
          <pc:docMk/>
          <pc:sldMk cId="3857443731" sldId="1870"/>
        </pc:sldMkLst>
        <pc:spChg chg="mod">
          <ac:chgData name="Deshpande, Mayuri (T RDA FOA PAE-US)" userId="307bd999-17dd-4997-b1e2-139127ad27ac" providerId="ADAL" clId="{179BC8E9-6240-4755-8B11-A9D10960E425}" dt="2021-04-19T14:06:25.275" v="196" actId="692"/>
          <ac:spMkLst>
            <pc:docMk/>
            <pc:sldMk cId="3857443731" sldId="1870"/>
            <ac:spMk id="3" creationId="{4F6A3CB4-7F78-4D5F-9E6A-67D5E5E5EFE1}"/>
          </ac:spMkLst>
        </pc:spChg>
        <pc:spChg chg="mod">
          <ac:chgData name="Deshpande, Mayuri (T RDA FOA PAE-US)" userId="307bd999-17dd-4997-b1e2-139127ad27ac" providerId="ADAL" clId="{179BC8E9-6240-4755-8B11-A9D10960E425}" dt="2021-04-19T14:06:25.275" v="196" actId="692"/>
          <ac:spMkLst>
            <pc:docMk/>
            <pc:sldMk cId="3857443731" sldId="1870"/>
            <ac:spMk id="4" creationId="{905157C3-4B5C-40BD-AE7E-A771375C4D27}"/>
          </ac:spMkLst>
        </pc:spChg>
        <pc:spChg chg="mod">
          <ac:chgData name="Deshpande, Mayuri (T RDA FOA PAE-US)" userId="307bd999-17dd-4997-b1e2-139127ad27ac" providerId="ADAL" clId="{179BC8E9-6240-4755-8B11-A9D10960E425}" dt="2021-04-19T14:06:25.275" v="196" actId="692"/>
          <ac:spMkLst>
            <pc:docMk/>
            <pc:sldMk cId="3857443731" sldId="1870"/>
            <ac:spMk id="5" creationId="{161EBF9B-2A93-4859-90DD-756F08036D89}"/>
          </ac:spMkLst>
        </pc:spChg>
        <pc:spChg chg="mod">
          <ac:chgData name="Deshpande, Mayuri (T RDA FOA PAE-US)" userId="307bd999-17dd-4997-b1e2-139127ad27ac" providerId="ADAL" clId="{179BC8E9-6240-4755-8B11-A9D10960E425}" dt="2021-04-19T14:06:25.275" v="196" actId="692"/>
          <ac:spMkLst>
            <pc:docMk/>
            <pc:sldMk cId="3857443731" sldId="1870"/>
            <ac:spMk id="6" creationId="{39D7CA2A-2D6D-4E1E-836C-E8ACA70DADF3}"/>
          </ac:spMkLst>
        </pc:spChg>
        <pc:spChg chg="mod">
          <ac:chgData name="Deshpande, Mayuri (T RDA FOA PAE-US)" userId="307bd999-17dd-4997-b1e2-139127ad27ac" providerId="ADAL" clId="{179BC8E9-6240-4755-8B11-A9D10960E425}" dt="2021-04-19T14:06:25.275" v="196" actId="692"/>
          <ac:spMkLst>
            <pc:docMk/>
            <pc:sldMk cId="3857443731" sldId="1870"/>
            <ac:spMk id="11" creationId="{42989674-12DE-4BF4-A540-5D2815442B7D}"/>
          </ac:spMkLst>
        </pc:spChg>
        <pc:spChg chg="mod">
          <ac:chgData name="Deshpande, Mayuri (T RDA FOA PAE-US)" userId="307bd999-17dd-4997-b1e2-139127ad27ac" providerId="ADAL" clId="{179BC8E9-6240-4755-8B11-A9D10960E425}" dt="2021-04-19T14:06:25.275" v="196" actId="692"/>
          <ac:spMkLst>
            <pc:docMk/>
            <pc:sldMk cId="3857443731" sldId="1870"/>
            <ac:spMk id="13" creationId="{15A949A8-A518-4B95-B1FB-740F07AC8B3C}"/>
          </ac:spMkLst>
        </pc:spChg>
        <pc:spChg chg="mod">
          <ac:chgData name="Deshpande, Mayuri (T RDA FOA PAE-US)" userId="307bd999-17dd-4997-b1e2-139127ad27ac" providerId="ADAL" clId="{179BC8E9-6240-4755-8B11-A9D10960E425}" dt="2021-04-19T14:06:25.275" v="196" actId="692"/>
          <ac:spMkLst>
            <pc:docMk/>
            <pc:sldMk cId="3857443731" sldId="1870"/>
            <ac:spMk id="21" creationId="{B006DAA8-99C1-46B0-B7F0-4BB3D983AAB4}"/>
          </ac:spMkLst>
        </pc:spChg>
        <pc:spChg chg="mod">
          <ac:chgData name="Deshpande, Mayuri (T RDA FOA PAE-US)" userId="307bd999-17dd-4997-b1e2-139127ad27ac" providerId="ADAL" clId="{179BC8E9-6240-4755-8B11-A9D10960E425}" dt="2021-04-19T14:06:25.275" v="196" actId="692"/>
          <ac:spMkLst>
            <pc:docMk/>
            <pc:sldMk cId="3857443731" sldId="1870"/>
            <ac:spMk id="24" creationId="{2BACA164-2F3B-46FA-9AFC-998FC63B807B}"/>
          </ac:spMkLst>
        </pc:spChg>
        <pc:spChg chg="mod">
          <ac:chgData name="Deshpande, Mayuri (T RDA FOA PAE-US)" userId="307bd999-17dd-4997-b1e2-139127ad27ac" providerId="ADAL" clId="{179BC8E9-6240-4755-8B11-A9D10960E425}" dt="2021-04-19T14:06:25.275" v="196" actId="692"/>
          <ac:spMkLst>
            <pc:docMk/>
            <pc:sldMk cId="3857443731" sldId="1870"/>
            <ac:spMk id="28" creationId="{9BAC3AA5-3FFE-4049-9B62-EEFC1F0BFDC1}"/>
          </ac:spMkLst>
        </pc:spChg>
        <pc:cxnChg chg="mod">
          <ac:chgData name="Deshpande, Mayuri (T RDA FOA PAE-US)" userId="307bd999-17dd-4997-b1e2-139127ad27ac" providerId="ADAL" clId="{179BC8E9-6240-4755-8B11-A9D10960E425}" dt="2021-04-19T14:06:01.732" v="191" actId="692"/>
          <ac:cxnSpMkLst>
            <pc:docMk/>
            <pc:sldMk cId="3857443731" sldId="1870"/>
            <ac:cxnSpMk id="65" creationId="{99867E56-B5D3-437E-8E76-1A5034EB716B}"/>
          </ac:cxnSpMkLst>
        </pc:cxnChg>
        <pc:cxnChg chg="mod">
          <ac:chgData name="Deshpande, Mayuri (T RDA FOA PAE-US)" userId="307bd999-17dd-4997-b1e2-139127ad27ac" providerId="ADAL" clId="{179BC8E9-6240-4755-8B11-A9D10960E425}" dt="2021-04-19T14:06:01.732" v="191" actId="692"/>
          <ac:cxnSpMkLst>
            <pc:docMk/>
            <pc:sldMk cId="3857443731" sldId="1870"/>
            <ac:cxnSpMk id="67" creationId="{D0C641E9-9F6A-4C11-8609-F3CFCE9A8D45}"/>
          </ac:cxnSpMkLst>
        </pc:cxnChg>
        <pc:cxnChg chg="mod">
          <ac:chgData name="Deshpande, Mayuri (T RDA FOA PAE-US)" userId="307bd999-17dd-4997-b1e2-139127ad27ac" providerId="ADAL" clId="{179BC8E9-6240-4755-8B11-A9D10960E425}" dt="2021-04-19T14:06:01.732" v="191" actId="692"/>
          <ac:cxnSpMkLst>
            <pc:docMk/>
            <pc:sldMk cId="3857443731" sldId="1870"/>
            <ac:cxnSpMk id="71" creationId="{040EBA19-376D-4F76-B499-405830419DC9}"/>
          </ac:cxnSpMkLst>
        </pc:cxnChg>
      </pc:sldChg>
      <pc:sldChg chg="add del">
        <pc:chgData name="Deshpande, Mayuri (T RDA FOA PAE-US)" userId="307bd999-17dd-4997-b1e2-139127ad27ac" providerId="ADAL" clId="{179BC8E9-6240-4755-8B11-A9D10960E425}" dt="2021-04-19T14:15:43.836" v="260" actId="47"/>
        <pc:sldMkLst>
          <pc:docMk/>
          <pc:sldMk cId="332264685" sldId="1871"/>
        </pc:sldMkLst>
      </pc:sldChg>
      <pc:sldChg chg="addSp delSp modSp del mod setBg addAnim delAnim">
        <pc:chgData name="Deshpande, Mayuri (T RDA FOA PAE-US)" userId="307bd999-17dd-4997-b1e2-139127ad27ac" providerId="ADAL" clId="{179BC8E9-6240-4755-8B11-A9D10960E425}" dt="2021-04-19T22:39:06.851" v="1256" actId="47"/>
        <pc:sldMkLst>
          <pc:docMk/>
          <pc:sldMk cId="4210428915" sldId="3198"/>
        </pc:sldMkLst>
        <pc:spChg chg="mod">
          <ac:chgData name="Deshpande, Mayuri (T RDA FOA PAE-US)" userId="307bd999-17dd-4997-b1e2-139127ad27ac" providerId="ADAL" clId="{179BC8E9-6240-4755-8B11-A9D10960E425}" dt="2021-04-19T14:23:29.785" v="324" actId="26606"/>
          <ac:spMkLst>
            <pc:docMk/>
            <pc:sldMk cId="4210428915" sldId="3198"/>
            <ac:spMk id="2" creationId="{8FDA17C2-CC0D-4A70-A1C4-4DAA44F64772}"/>
          </ac:spMkLst>
        </pc:spChg>
        <pc:spChg chg="mod">
          <ac:chgData name="Deshpande, Mayuri (T RDA FOA PAE-US)" userId="307bd999-17dd-4997-b1e2-139127ad27ac" providerId="ADAL" clId="{179BC8E9-6240-4755-8B11-A9D10960E425}" dt="2021-04-19T21:40:00.494" v="1151" actId="20577"/>
          <ac:spMkLst>
            <pc:docMk/>
            <pc:sldMk cId="4210428915" sldId="3198"/>
            <ac:spMk id="6" creationId="{DA865AB3-8AE0-4AB0-94C2-2E517EC147DE}"/>
          </ac:spMkLst>
        </pc:spChg>
        <pc:spChg chg="mod">
          <ac:chgData name="Deshpande, Mayuri (T RDA FOA PAE-US)" userId="307bd999-17dd-4997-b1e2-139127ad27ac" providerId="ADAL" clId="{179BC8E9-6240-4755-8B11-A9D10960E425}" dt="2021-04-19T14:23:29.785" v="324" actId="26606"/>
          <ac:spMkLst>
            <pc:docMk/>
            <pc:sldMk cId="4210428915" sldId="3198"/>
            <ac:spMk id="17" creationId="{9F1C4C08-3D5C-4C0E-914A-F70CA07D0654}"/>
          </ac:spMkLst>
        </pc:spChg>
        <pc:spChg chg="add del">
          <ac:chgData name="Deshpande, Mayuri (T RDA FOA PAE-US)" userId="307bd999-17dd-4997-b1e2-139127ad27ac" providerId="ADAL" clId="{179BC8E9-6240-4755-8B11-A9D10960E425}" dt="2021-04-19T13:58:48.011" v="24" actId="26606"/>
          <ac:spMkLst>
            <pc:docMk/>
            <pc:sldMk cId="4210428915" sldId="3198"/>
            <ac:spMk id="19" creationId="{5A59F003-E00A-43F9-91DC-CC54E3B87466}"/>
          </ac:spMkLst>
        </pc:spChg>
        <pc:spChg chg="add del">
          <ac:chgData name="Deshpande, Mayuri (T RDA FOA PAE-US)" userId="307bd999-17dd-4997-b1e2-139127ad27ac" providerId="ADAL" clId="{179BC8E9-6240-4755-8B11-A9D10960E425}" dt="2021-04-19T13:58:48.011" v="24" actId="26606"/>
          <ac:spMkLst>
            <pc:docMk/>
            <pc:sldMk cId="4210428915" sldId="3198"/>
            <ac:spMk id="20" creationId="{D74A4382-E3AD-430A-9A1F-DFA3E0E77A7D}"/>
          </ac:spMkLst>
        </pc:spChg>
        <pc:spChg chg="add del">
          <ac:chgData name="Deshpande, Mayuri (T RDA FOA PAE-US)" userId="307bd999-17dd-4997-b1e2-139127ad27ac" providerId="ADAL" clId="{179BC8E9-6240-4755-8B11-A9D10960E425}" dt="2021-04-19T13:58:48.011" v="24" actId="26606"/>
          <ac:spMkLst>
            <pc:docMk/>
            <pc:sldMk cId="4210428915" sldId="3198"/>
            <ac:spMk id="21" creationId="{79F40191-0F44-4FD1-82CC-ACB507C14BE6}"/>
          </ac:spMkLst>
        </pc:spChg>
        <pc:spChg chg="add del">
          <ac:chgData name="Deshpande, Mayuri (T RDA FOA PAE-US)" userId="307bd999-17dd-4997-b1e2-139127ad27ac" providerId="ADAL" clId="{179BC8E9-6240-4755-8B11-A9D10960E425}" dt="2021-04-19T13:57:55.036" v="19" actId="26606"/>
          <ac:spMkLst>
            <pc:docMk/>
            <pc:sldMk cId="4210428915" sldId="3198"/>
            <ac:spMk id="22" creationId="{0671A8AE-40A1-4631-A6B8-581AFF065482}"/>
          </ac:spMkLst>
        </pc:spChg>
        <pc:spChg chg="add del">
          <ac:chgData name="Deshpande, Mayuri (T RDA FOA PAE-US)" userId="307bd999-17dd-4997-b1e2-139127ad27ac" providerId="ADAL" clId="{179BC8E9-6240-4755-8B11-A9D10960E425}" dt="2021-04-19T13:58:52.681" v="26" actId="26606"/>
          <ac:spMkLst>
            <pc:docMk/>
            <pc:sldMk cId="4210428915" sldId="3198"/>
            <ac:spMk id="23" creationId="{71B2258F-86CA-4D4D-8270-BC05FCDEBFB3}"/>
          </ac:spMkLst>
        </pc:spChg>
        <pc:spChg chg="add del">
          <ac:chgData name="Deshpande, Mayuri (T RDA FOA PAE-US)" userId="307bd999-17dd-4997-b1e2-139127ad27ac" providerId="ADAL" clId="{179BC8E9-6240-4755-8B11-A9D10960E425}" dt="2021-04-19T13:57:55.036" v="19" actId="26606"/>
          <ac:spMkLst>
            <pc:docMk/>
            <pc:sldMk cId="4210428915" sldId="3198"/>
            <ac:spMk id="24" creationId="{AB58EF07-17C2-48CF-ABB0-EEF1F17CB8F0}"/>
          </ac:spMkLst>
        </pc:spChg>
        <pc:spChg chg="add del">
          <ac:chgData name="Deshpande, Mayuri (T RDA FOA PAE-US)" userId="307bd999-17dd-4997-b1e2-139127ad27ac" providerId="ADAL" clId="{179BC8E9-6240-4755-8B11-A9D10960E425}" dt="2021-04-19T13:59:04.591" v="31" actId="26606"/>
          <ac:spMkLst>
            <pc:docMk/>
            <pc:sldMk cId="4210428915" sldId="3198"/>
            <ac:spMk id="25" creationId="{0671A8AE-40A1-4631-A6B8-581AFF065482}"/>
          </ac:spMkLst>
        </pc:spChg>
        <pc:spChg chg="add del">
          <ac:chgData name="Deshpande, Mayuri (T RDA FOA PAE-US)" userId="307bd999-17dd-4997-b1e2-139127ad27ac" providerId="ADAL" clId="{179BC8E9-6240-4755-8B11-A9D10960E425}" dt="2021-04-19T13:57:55.036" v="19" actId="26606"/>
          <ac:spMkLst>
            <pc:docMk/>
            <pc:sldMk cId="4210428915" sldId="3198"/>
            <ac:spMk id="26" creationId="{AF2F604E-43BE-4DC3-B983-E071523364F8}"/>
          </ac:spMkLst>
        </pc:spChg>
        <pc:spChg chg="add del">
          <ac:chgData name="Deshpande, Mayuri (T RDA FOA PAE-US)" userId="307bd999-17dd-4997-b1e2-139127ad27ac" providerId="ADAL" clId="{179BC8E9-6240-4755-8B11-A9D10960E425}" dt="2021-04-19T13:59:04.591" v="31" actId="26606"/>
          <ac:spMkLst>
            <pc:docMk/>
            <pc:sldMk cId="4210428915" sldId="3198"/>
            <ac:spMk id="27" creationId="{AB58EF07-17C2-48CF-ABB0-EEF1F17CB8F0}"/>
          </ac:spMkLst>
        </pc:spChg>
        <pc:spChg chg="add del">
          <ac:chgData name="Deshpande, Mayuri (T RDA FOA PAE-US)" userId="307bd999-17dd-4997-b1e2-139127ad27ac" providerId="ADAL" clId="{179BC8E9-6240-4755-8B11-A9D10960E425}" dt="2021-04-19T13:57:55.036" v="19" actId="26606"/>
          <ac:spMkLst>
            <pc:docMk/>
            <pc:sldMk cId="4210428915" sldId="3198"/>
            <ac:spMk id="28" creationId="{08C9B587-E65E-4B52-B37C-ABEBB6E87928}"/>
          </ac:spMkLst>
        </pc:spChg>
        <pc:spChg chg="add del">
          <ac:chgData name="Deshpande, Mayuri (T RDA FOA PAE-US)" userId="307bd999-17dd-4997-b1e2-139127ad27ac" providerId="ADAL" clId="{179BC8E9-6240-4755-8B11-A9D10960E425}" dt="2021-04-19T13:59:04.591" v="31" actId="26606"/>
          <ac:spMkLst>
            <pc:docMk/>
            <pc:sldMk cId="4210428915" sldId="3198"/>
            <ac:spMk id="29" creationId="{AF2F604E-43BE-4DC3-B983-E071523364F8}"/>
          </ac:spMkLst>
        </pc:spChg>
        <pc:spChg chg="add del">
          <ac:chgData name="Deshpande, Mayuri (T RDA FOA PAE-US)" userId="307bd999-17dd-4997-b1e2-139127ad27ac" providerId="ADAL" clId="{179BC8E9-6240-4755-8B11-A9D10960E425}" dt="2021-04-19T13:59:04.591" v="31" actId="26606"/>
          <ac:spMkLst>
            <pc:docMk/>
            <pc:sldMk cId="4210428915" sldId="3198"/>
            <ac:spMk id="30" creationId="{08C9B587-E65E-4B52-B37C-ABEBB6E87928}"/>
          </ac:spMkLst>
        </pc:spChg>
        <pc:spChg chg="add del">
          <ac:chgData name="Deshpande, Mayuri (T RDA FOA PAE-US)" userId="307bd999-17dd-4997-b1e2-139127ad27ac" providerId="ADAL" clId="{179BC8E9-6240-4755-8B11-A9D10960E425}" dt="2021-04-19T13:59:19.284" v="33" actId="26606"/>
          <ac:spMkLst>
            <pc:docMk/>
            <pc:sldMk cId="4210428915" sldId="3198"/>
            <ac:spMk id="32" creationId="{71B2258F-86CA-4D4D-8270-BC05FCDEBFB3}"/>
          </ac:spMkLst>
        </pc:spChg>
        <pc:spChg chg="add del">
          <ac:chgData name="Deshpande, Mayuri (T RDA FOA PAE-US)" userId="307bd999-17dd-4997-b1e2-139127ad27ac" providerId="ADAL" clId="{179BC8E9-6240-4755-8B11-A9D10960E425}" dt="2021-04-19T14:02:17.261" v="74" actId="26606"/>
          <ac:spMkLst>
            <pc:docMk/>
            <pc:sldMk cId="4210428915" sldId="3198"/>
            <ac:spMk id="34" creationId="{55666830-9A19-4E01-8505-D6C7F9AC5665}"/>
          </ac:spMkLst>
        </pc:spChg>
        <pc:spChg chg="add del">
          <ac:chgData name="Deshpande, Mayuri (T RDA FOA PAE-US)" userId="307bd999-17dd-4997-b1e2-139127ad27ac" providerId="ADAL" clId="{179BC8E9-6240-4755-8B11-A9D10960E425}" dt="2021-04-19T14:02:17.261" v="74" actId="26606"/>
          <ac:spMkLst>
            <pc:docMk/>
            <pc:sldMk cId="4210428915" sldId="3198"/>
            <ac:spMk id="35" creationId="{AE9FC877-7FB6-4D22-9988-35420644E202}"/>
          </ac:spMkLst>
        </pc:spChg>
        <pc:spChg chg="add del">
          <ac:chgData name="Deshpande, Mayuri (T RDA FOA PAE-US)" userId="307bd999-17dd-4997-b1e2-139127ad27ac" providerId="ADAL" clId="{179BC8E9-6240-4755-8B11-A9D10960E425}" dt="2021-04-19T14:02:17.261" v="74" actId="26606"/>
          <ac:spMkLst>
            <pc:docMk/>
            <pc:sldMk cId="4210428915" sldId="3198"/>
            <ac:spMk id="36" creationId="{E41809D1-F12E-46BB-B804-5F209D325E8B}"/>
          </ac:spMkLst>
        </pc:spChg>
        <pc:spChg chg="add del">
          <ac:chgData name="Deshpande, Mayuri (T RDA FOA PAE-US)" userId="307bd999-17dd-4997-b1e2-139127ad27ac" providerId="ADAL" clId="{179BC8E9-6240-4755-8B11-A9D10960E425}" dt="2021-04-19T14:02:17.261" v="74" actId="26606"/>
          <ac:spMkLst>
            <pc:docMk/>
            <pc:sldMk cId="4210428915" sldId="3198"/>
            <ac:spMk id="37" creationId="{AF2F604E-43BE-4DC3-B983-E071523364F8}"/>
          </ac:spMkLst>
        </pc:spChg>
        <pc:spChg chg="add del">
          <ac:chgData name="Deshpande, Mayuri (T RDA FOA PAE-US)" userId="307bd999-17dd-4997-b1e2-139127ad27ac" providerId="ADAL" clId="{179BC8E9-6240-4755-8B11-A9D10960E425}" dt="2021-04-19T14:02:17.261" v="74" actId="26606"/>
          <ac:spMkLst>
            <pc:docMk/>
            <pc:sldMk cId="4210428915" sldId="3198"/>
            <ac:spMk id="38" creationId="{08C9B587-E65E-4B52-B37C-ABEBB6E87928}"/>
          </ac:spMkLst>
        </pc:spChg>
        <pc:spChg chg="add">
          <ac:chgData name="Deshpande, Mayuri (T RDA FOA PAE-US)" userId="307bd999-17dd-4997-b1e2-139127ad27ac" providerId="ADAL" clId="{179BC8E9-6240-4755-8B11-A9D10960E425}" dt="2021-04-19T14:23:29.785" v="324" actId="26606"/>
          <ac:spMkLst>
            <pc:docMk/>
            <pc:sldMk cId="4210428915" sldId="3198"/>
            <ac:spMk id="41" creationId="{053FB2EE-284F-4C87-AB3D-BBF87A9FAB97}"/>
          </ac:spMkLst>
        </pc:spChg>
        <pc:grpChg chg="add">
          <ac:chgData name="Deshpande, Mayuri (T RDA FOA PAE-US)" userId="307bd999-17dd-4997-b1e2-139127ad27ac" providerId="ADAL" clId="{179BC8E9-6240-4755-8B11-A9D10960E425}" dt="2021-04-19T14:23:29.785" v="324" actId="26606"/>
          <ac:grpSpMkLst>
            <pc:docMk/>
            <pc:sldMk cId="4210428915" sldId="3198"/>
            <ac:grpSpMk id="31" creationId="{D2C4BFA1-2075-4901-9E24-E41D1FDD51FD}"/>
          </ac:grpSpMkLst>
        </pc:grpChg>
        <pc:picChg chg="add del mod ord">
          <ac:chgData name="Deshpande, Mayuri (T RDA FOA PAE-US)" userId="307bd999-17dd-4997-b1e2-139127ad27ac" providerId="ADAL" clId="{179BC8E9-6240-4755-8B11-A9D10960E425}" dt="2021-04-19T14:02:17.419" v="78"/>
          <ac:picMkLst>
            <pc:docMk/>
            <pc:sldMk cId="4210428915" sldId="3198"/>
            <ac:picMk id="5" creationId="{7FDC859A-F622-4125-8533-0B15CC378BB4}"/>
          </ac:picMkLst>
        </pc:picChg>
      </pc:sldChg>
      <pc:sldChg chg="del ord">
        <pc:chgData name="Deshpande, Mayuri (T RDA FOA PAE-US)" userId="307bd999-17dd-4997-b1e2-139127ad27ac" providerId="ADAL" clId="{179BC8E9-6240-4755-8B11-A9D10960E425}" dt="2021-04-19T14:49:52.842" v="509" actId="47"/>
        <pc:sldMkLst>
          <pc:docMk/>
          <pc:sldMk cId="148550056" sldId="3199"/>
        </pc:sldMkLst>
      </pc:sldChg>
      <pc:sldChg chg="del ord">
        <pc:chgData name="Deshpande, Mayuri (T RDA FOA PAE-US)" userId="307bd999-17dd-4997-b1e2-139127ad27ac" providerId="ADAL" clId="{179BC8E9-6240-4755-8B11-A9D10960E425}" dt="2021-04-19T14:49:53.743" v="510" actId="47"/>
        <pc:sldMkLst>
          <pc:docMk/>
          <pc:sldMk cId="3842640154" sldId="3200"/>
        </pc:sldMkLst>
      </pc:sldChg>
      <pc:sldChg chg="del ord">
        <pc:chgData name="Deshpande, Mayuri (T RDA FOA PAE-US)" userId="307bd999-17dd-4997-b1e2-139127ad27ac" providerId="ADAL" clId="{179BC8E9-6240-4755-8B11-A9D10960E425}" dt="2021-04-19T14:49:52.250" v="508" actId="47"/>
        <pc:sldMkLst>
          <pc:docMk/>
          <pc:sldMk cId="1142395534" sldId="3201"/>
        </pc:sldMkLst>
      </pc:sldChg>
      <pc:sldChg chg="addSp delSp modSp new mod delCm">
        <pc:chgData name="Deshpande, Mayuri (T RDA FOA PAE-US)" userId="307bd999-17dd-4997-b1e2-139127ad27ac" providerId="ADAL" clId="{179BC8E9-6240-4755-8B11-A9D10960E425}" dt="2021-04-26T21:16:44.071" v="1895" actId="113"/>
        <pc:sldMkLst>
          <pc:docMk/>
          <pc:sldMk cId="3882935950" sldId="3202"/>
        </pc:sldMkLst>
        <pc:spChg chg="mod">
          <ac:chgData name="Deshpande, Mayuri (T RDA FOA PAE-US)" userId="307bd999-17dd-4997-b1e2-139127ad27ac" providerId="ADAL" clId="{179BC8E9-6240-4755-8B11-A9D10960E425}" dt="2021-04-26T21:15:30.642" v="1860" actId="20577"/>
          <ac:spMkLst>
            <pc:docMk/>
            <pc:sldMk cId="3882935950" sldId="3202"/>
            <ac:spMk id="2" creationId="{29B60A4B-BA04-48FF-97A3-73B90B860E9F}"/>
          </ac:spMkLst>
        </pc:spChg>
        <pc:spChg chg="del">
          <ac:chgData name="Deshpande, Mayuri (T RDA FOA PAE-US)" userId="307bd999-17dd-4997-b1e2-139127ad27ac" providerId="ADAL" clId="{179BC8E9-6240-4755-8B11-A9D10960E425}" dt="2021-04-19T14:13:12.540" v="248" actId="478"/>
          <ac:spMkLst>
            <pc:docMk/>
            <pc:sldMk cId="3882935950" sldId="3202"/>
            <ac:spMk id="3" creationId="{557A84E0-8189-4266-9539-A0B63A7D1EC3}"/>
          </ac:spMkLst>
        </pc:spChg>
        <pc:spChg chg="mod">
          <ac:chgData name="Deshpande, Mayuri (T RDA FOA PAE-US)" userId="307bd999-17dd-4997-b1e2-139127ad27ac" providerId="ADAL" clId="{179BC8E9-6240-4755-8B11-A9D10960E425}" dt="2021-04-19T23:08:07.821" v="1769" actId="20577"/>
          <ac:spMkLst>
            <pc:docMk/>
            <pc:sldMk cId="3882935950" sldId="3202"/>
            <ac:spMk id="4" creationId="{81969ED2-DD74-4CD7-9D2D-B618E953A486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8" creationId="{23A045A0-2EB1-4C6B-AEDC-5AD7562BC2E6}"/>
          </ac:spMkLst>
        </pc:spChg>
        <pc:spChg chg="add mod">
          <ac:chgData name="Deshpande, Mayuri (T RDA FOA PAE-US)" userId="307bd999-17dd-4997-b1e2-139127ad27ac" providerId="ADAL" clId="{179BC8E9-6240-4755-8B11-A9D10960E425}" dt="2021-04-19T17:35:56.078" v="1143" actId="1076"/>
          <ac:spMkLst>
            <pc:docMk/>
            <pc:sldMk cId="3882935950" sldId="3202"/>
            <ac:spMk id="9" creationId="{2E2A9D0E-B90D-4460-BA9A-1868D18ABAC6}"/>
          </ac:spMkLst>
        </pc:spChg>
        <pc:spChg chg="add mod">
          <ac:chgData name="Deshpande, Mayuri (T RDA FOA PAE-US)" userId="307bd999-17dd-4997-b1e2-139127ad27ac" providerId="ADAL" clId="{179BC8E9-6240-4755-8B11-A9D10960E425}" dt="2021-04-19T17:35:56.078" v="1143" actId="1076"/>
          <ac:spMkLst>
            <pc:docMk/>
            <pc:sldMk cId="3882935950" sldId="3202"/>
            <ac:spMk id="10" creationId="{B4A09165-1468-4306-B9C1-F031F7CAD1F0}"/>
          </ac:spMkLst>
        </pc:spChg>
        <pc:spChg chg="add mod">
          <ac:chgData name="Deshpande, Mayuri (T RDA FOA PAE-US)" userId="307bd999-17dd-4997-b1e2-139127ad27ac" providerId="ADAL" clId="{179BC8E9-6240-4755-8B11-A9D10960E425}" dt="2021-04-19T17:35:56.078" v="1143" actId="1076"/>
          <ac:spMkLst>
            <pc:docMk/>
            <pc:sldMk cId="3882935950" sldId="3202"/>
            <ac:spMk id="11" creationId="{4AFEB66E-8D20-4809-91DD-2E6214CAD470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12" creationId="{55D576C8-F04A-4F55-B82C-2E39681326E6}"/>
          </ac:spMkLst>
        </pc:spChg>
        <pc:spChg chg="add mod">
          <ac:chgData name="Deshpande, Mayuri (T RDA FOA PAE-US)" userId="307bd999-17dd-4997-b1e2-139127ad27ac" providerId="ADAL" clId="{179BC8E9-6240-4755-8B11-A9D10960E425}" dt="2021-04-19T22:43:29.192" v="1305" actId="1076"/>
          <ac:spMkLst>
            <pc:docMk/>
            <pc:sldMk cId="3882935950" sldId="3202"/>
            <ac:spMk id="13" creationId="{175193D2-4E19-4A60-9C22-764D914C553F}"/>
          </ac:spMkLst>
        </pc:spChg>
        <pc:spChg chg="add mod">
          <ac:chgData name="Deshpande, Mayuri (T RDA FOA PAE-US)" userId="307bd999-17dd-4997-b1e2-139127ad27ac" providerId="ADAL" clId="{179BC8E9-6240-4755-8B11-A9D10960E425}" dt="2021-04-19T17:32:45.035" v="1125" actId="1076"/>
          <ac:spMkLst>
            <pc:docMk/>
            <pc:sldMk cId="3882935950" sldId="3202"/>
            <ac:spMk id="14" creationId="{C049AA43-6CF0-43B7-87D6-DA19993C949E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15" creationId="{6CEC8550-C90D-4C86-BC12-BC89F9ED3053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16" creationId="{BC4E5BF5-F3FD-40B7-8E79-801C6BFCE30A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19" creationId="{5C348125-B212-484F-AD40-4FE66FF51A24}"/>
          </ac:spMkLst>
        </pc:spChg>
        <pc:spChg chg="add mod">
          <ac:chgData name="Deshpande, Mayuri (T RDA FOA PAE-US)" userId="307bd999-17dd-4997-b1e2-139127ad27ac" providerId="ADAL" clId="{179BC8E9-6240-4755-8B11-A9D10960E425}" dt="2021-04-19T17:32:36.631" v="1124" actId="1076"/>
          <ac:spMkLst>
            <pc:docMk/>
            <pc:sldMk cId="3882935950" sldId="3202"/>
            <ac:spMk id="20" creationId="{5D797CE2-D1E4-4BBA-A581-E39B5D242591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21" creationId="{469247CE-4C6B-42C9-9E86-0D6F0DBFD225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22" creationId="{5D2D4413-A430-4650-BC81-563ADC8B0088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23" creationId="{DD08914F-45CD-469A-BE7D-4460BFDB5418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25" creationId="{F0C7DBAB-FC1A-48BF-A605-C5F282E2A540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27" creationId="{0F8A7E77-4410-4D00-9427-7F40C992A04E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28" creationId="{E749BC03-51E5-4F94-BCC4-15A7C3FA6246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30" creationId="{38764560-21D9-44F1-BF76-DB51D0032F9F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31" creationId="{963F111D-0150-40E4-B3BF-0FCF6E55EC91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37" creationId="{11B849E8-CF6F-4A6C-BF1E-8DA7D1A36028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38" creationId="{6731F255-6A32-4430-803B-70A10BFA86DF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39" creationId="{F61A768F-59B9-4E50-BBDC-08D678DA1EDE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40" creationId="{BE38C0D6-785C-428F-A58A-CD6317D88A33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41" creationId="{39FEF433-7A93-4605-B2F5-0BA56236410A}"/>
          </ac:spMkLst>
        </pc:spChg>
        <pc:spChg chg="add mod">
          <ac:chgData name="Deshpande, Mayuri (T RDA FOA PAE-US)" userId="307bd999-17dd-4997-b1e2-139127ad27ac" providerId="ADAL" clId="{179BC8E9-6240-4755-8B11-A9D10960E425}" dt="2021-04-19T17:20:20.278" v="967" actId="1076"/>
          <ac:spMkLst>
            <pc:docMk/>
            <pc:sldMk cId="3882935950" sldId="3202"/>
            <ac:spMk id="42" creationId="{0519E204-6EA2-4B04-8957-4E828EB2CC0F}"/>
          </ac:spMkLst>
        </pc:spChg>
        <pc:spChg chg="add mod">
          <ac:chgData name="Deshpande, Mayuri (T RDA FOA PAE-US)" userId="307bd999-17dd-4997-b1e2-139127ad27ac" providerId="ADAL" clId="{179BC8E9-6240-4755-8B11-A9D10960E425}" dt="2021-04-19T17:35:46.330" v="1142" actId="1076"/>
          <ac:spMkLst>
            <pc:docMk/>
            <pc:sldMk cId="3882935950" sldId="3202"/>
            <ac:spMk id="46" creationId="{9A5F9D68-7884-40A6-90FF-4979BA9E147D}"/>
          </ac:spMkLst>
        </pc:spChg>
        <pc:spChg chg="add mod">
          <ac:chgData name="Deshpande, Mayuri (T RDA FOA PAE-US)" userId="307bd999-17dd-4997-b1e2-139127ad27ac" providerId="ADAL" clId="{179BC8E9-6240-4755-8B11-A9D10960E425}" dt="2021-04-19T17:35:46.330" v="1142" actId="1076"/>
          <ac:spMkLst>
            <pc:docMk/>
            <pc:sldMk cId="3882935950" sldId="3202"/>
            <ac:spMk id="47" creationId="{EA3E81D7-85A0-4CD6-9977-93E94F25E3C6}"/>
          </ac:spMkLst>
        </pc:spChg>
        <pc:spChg chg="add mod">
          <ac:chgData name="Deshpande, Mayuri (T RDA FOA PAE-US)" userId="307bd999-17dd-4997-b1e2-139127ad27ac" providerId="ADAL" clId="{179BC8E9-6240-4755-8B11-A9D10960E425}" dt="2021-04-19T17:35:46.330" v="1142" actId="1076"/>
          <ac:spMkLst>
            <pc:docMk/>
            <pc:sldMk cId="3882935950" sldId="3202"/>
            <ac:spMk id="48" creationId="{BEE821DA-61E0-41AD-BE88-F31AD34214EF}"/>
          </ac:spMkLst>
        </pc:spChg>
        <pc:spChg chg="add mod">
          <ac:chgData name="Deshpande, Mayuri (T RDA FOA PAE-US)" userId="307bd999-17dd-4997-b1e2-139127ad27ac" providerId="ADAL" clId="{179BC8E9-6240-4755-8B11-A9D10960E425}" dt="2021-04-19T17:35:46.330" v="1142" actId="1076"/>
          <ac:spMkLst>
            <pc:docMk/>
            <pc:sldMk cId="3882935950" sldId="3202"/>
            <ac:spMk id="52" creationId="{3FA45A20-67AC-4699-8C35-B394B178A5AC}"/>
          </ac:spMkLst>
        </pc:spChg>
        <pc:spChg chg="add mod ord">
          <ac:chgData name="Deshpande, Mayuri (T RDA FOA PAE-US)" userId="307bd999-17dd-4997-b1e2-139127ad27ac" providerId="ADAL" clId="{179BC8E9-6240-4755-8B11-A9D10960E425}" dt="2021-04-19T17:35:46.330" v="1142" actId="1076"/>
          <ac:spMkLst>
            <pc:docMk/>
            <pc:sldMk cId="3882935950" sldId="3202"/>
            <ac:spMk id="65" creationId="{6951287A-A284-4A05-8269-62D6A302F09E}"/>
          </ac:spMkLst>
        </pc:spChg>
        <pc:spChg chg="add mod">
          <ac:chgData name="Deshpande, Mayuri (T RDA FOA PAE-US)" userId="307bd999-17dd-4997-b1e2-139127ad27ac" providerId="ADAL" clId="{179BC8E9-6240-4755-8B11-A9D10960E425}" dt="2021-04-19T17:32:54.190" v="1127" actId="1076"/>
          <ac:spMkLst>
            <pc:docMk/>
            <pc:sldMk cId="3882935950" sldId="3202"/>
            <ac:spMk id="98" creationId="{70ABE095-5CCA-4DF6-B6FE-69BE6AB3BA62}"/>
          </ac:spMkLst>
        </pc:spChg>
        <pc:spChg chg="add mod">
          <ac:chgData name="Deshpande, Mayuri (T RDA FOA PAE-US)" userId="307bd999-17dd-4997-b1e2-139127ad27ac" providerId="ADAL" clId="{179BC8E9-6240-4755-8B11-A9D10960E425}" dt="2021-04-19T22:42:24.159" v="1274" actId="1076"/>
          <ac:spMkLst>
            <pc:docMk/>
            <pc:sldMk cId="3882935950" sldId="3202"/>
            <ac:spMk id="111" creationId="{E097CB7A-1BD7-43D2-97AA-B4B4B1CCCF8B}"/>
          </ac:spMkLst>
        </pc:spChg>
        <pc:spChg chg="add del mod">
          <ac:chgData name="Deshpande, Mayuri (T RDA FOA PAE-US)" userId="307bd999-17dd-4997-b1e2-139127ad27ac" providerId="ADAL" clId="{179BC8E9-6240-4755-8B11-A9D10960E425}" dt="2021-04-19T22:42:05.511" v="1259"/>
          <ac:spMkLst>
            <pc:docMk/>
            <pc:sldMk cId="3882935950" sldId="3202"/>
            <ac:spMk id="112" creationId="{AA91F46D-F0FD-40D9-BF75-2E9C3DFEE415}"/>
          </ac:spMkLst>
        </pc:spChg>
        <pc:spChg chg="add del mod">
          <ac:chgData name="Deshpande, Mayuri (T RDA FOA PAE-US)" userId="307bd999-17dd-4997-b1e2-139127ad27ac" providerId="ADAL" clId="{179BC8E9-6240-4755-8B11-A9D10960E425}" dt="2021-04-19T22:42:47.157" v="1279" actId="478"/>
          <ac:spMkLst>
            <pc:docMk/>
            <pc:sldMk cId="3882935950" sldId="3202"/>
            <ac:spMk id="113" creationId="{38B132DF-8748-4147-A396-3D4631AE4021}"/>
          </ac:spMkLst>
        </pc:spChg>
        <pc:spChg chg="add mod">
          <ac:chgData name="Deshpande, Mayuri (T RDA FOA PAE-US)" userId="307bd999-17dd-4997-b1e2-139127ad27ac" providerId="ADAL" clId="{179BC8E9-6240-4755-8B11-A9D10960E425}" dt="2021-04-26T21:16:44.071" v="1895" actId="113"/>
          <ac:spMkLst>
            <pc:docMk/>
            <pc:sldMk cId="3882935950" sldId="3202"/>
            <ac:spMk id="115" creationId="{AAD48655-A6F4-4C36-BBD0-C4498BDD277E}"/>
          </ac:spMkLst>
        </pc:spChg>
        <pc:graphicFrameChg chg="add mod modGraphic">
          <ac:chgData name="Deshpande, Mayuri (T RDA FOA PAE-US)" userId="307bd999-17dd-4997-b1e2-139127ad27ac" providerId="ADAL" clId="{179BC8E9-6240-4755-8B11-A9D10960E425}" dt="2021-04-19T17:35:46.330" v="1142" actId="1076"/>
          <ac:graphicFrameMkLst>
            <pc:docMk/>
            <pc:sldMk cId="3882935950" sldId="3202"/>
            <ac:graphicFrameMk id="43" creationId="{6E430CAB-8EE2-43CF-8EF6-AACAFC970BCD}"/>
          </ac:graphicFrameMkLst>
        </pc:graphicFrameChg>
        <pc:picChg chg="add mod">
          <ac:chgData name="Deshpande, Mayuri (T RDA FOA PAE-US)" userId="307bd999-17dd-4997-b1e2-139127ad27ac" providerId="ADAL" clId="{179BC8E9-6240-4755-8B11-A9D10960E425}" dt="2021-04-19T14:12:28.466" v="241"/>
          <ac:picMkLst>
            <pc:docMk/>
            <pc:sldMk cId="3882935950" sldId="3202"/>
            <ac:picMk id="5" creationId="{4C1C4B59-A67E-4134-8BF0-FECD00EA392E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3:02.748" v="247" actId="478"/>
          <ac:picMkLst>
            <pc:docMk/>
            <pc:sldMk cId="3882935950" sldId="3202"/>
            <ac:picMk id="6" creationId="{C9D520EE-03C3-499E-AFA6-5FE4DFDB7E7E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3:00.777" v="246" actId="478"/>
          <ac:picMkLst>
            <pc:docMk/>
            <pc:sldMk cId="3882935950" sldId="3202"/>
            <ac:picMk id="7" creationId="{CD5F971B-48DB-4F63-AF13-551338DA8018}"/>
          </ac:picMkLst>
        </pc:picChg>
        <pc:picChg chg="add mod">
          <ac:chgData name="Deshpande, Mayuri (T RDA FOA PAE-US)" userId="307bd999-17dd-4997-b1e2-139127ad27ac" providerId="ADAL" clId="{179BC8E9-6240-4755-8B11-A9D10960E425}" dt="2021-04-19T17:20:20.278" v="967" actId="1076"/>
          <ac:picMkLst>
            <pc:docMk/>
            <pc:sldMk cId="3882935950" sldId="3202"/>
            <ac:picMk id="29" creationId="{5C7D4D60-FF04-42AF-93C5-70924352E08E}"/>
          </ac:picMkLst>
        </pc:picChg>
        <pc:picChg chg="add mod">
          <ac:chgData name="Deshpande, Mayuri (T RDA FOA PAE-US)" userId="307bd999-17dd-4997-b1e2-139127ad27ac" providerId="ADAL" clId="{179BC8E9-6240-4755-8B11-A9D10960E425}" dt="2021-04-19T17:20:20.278" v="967" actId="1076"/>
          <ac:picMkLst>
            <pc:docMk/>
            <pc:sldMk cId="3882935950" sldId="3202"/>
            <ac:picMk id="33" creationId="{CA8C8A0C-B7F0-42E3-A114-F369DB0C0AD5}"/>
          </ac:picMkLst>
        </pc:picChg>
        <pc:picChg chg="add mod">
          <ac:chgData name="Deshpande, Mayuri (T RDA FOA PAE-US)" userId="307bd999-17dd-4997-b1e2-139127ad27ac" providerId="ADAL" clId="{179BC8E9-6240-4755-8B11-A9D10960E425}" dt="2021-04-19T17:35:46.330" v="1142" actId="1076"/>
          <ac:picMkLst>
            <pc:docMk/>
            <pc:sldMk cId="3882935950" sldId="3202"/>
            <ac:picMk id="44" creationId="{FCE05A0F-0D10-4F82-8856-BE1BAA430746}"/>
          </ac:picMkLst>
        </pc:picChg>
        <pc:picChg chg="add mod">
          <ac:chgData name="Deshpande, Mayuri (T RDA FOA PAE-US)" userId="307bd999-17dd-4997-b1e2-139127ad27ac" providerId="ADAL" clId="{179BC8E9-6240-4755-8B11-A9D10960E425}" dt="2021-04-19T17:35:46.330" v="1142" actId="1076"/>
          <ac:picMkLst>
            <pc:docMk/>
            <pc:sldMk cId="3882935950" sldId="3202"/>
            <ac:picMk id="45" creationId="{2C040ED7-F1C2-48DF-859E-1A5B7031C87E}"/>
          </ac:picMkLst>
        </pc:picChg>
        <pc:picChg chg="add mod">
          <ac:chgData name="Deshpande, Mayuri (T RDA FOA PAE-US)" userId="307bd999-17dd-4997-b1e2-139127ad27ac" providerId="ADAL" clId="{179BC8E9-6240-4755-8B11-A9D10960E425}" dt="2021-04-19T17:35:46.330" v="1142" actId="1076"/>
          <ac:picMkLst>
            <pc:docMk/>
            <pc:sldMk cId="3882935950" sldId="3202"/>
            <ac:picMk id="53" creationId="{84F0093B-EF42-4F9B-883F-B85012408FA2}"/>
          </ac:picMkLst>
        </pc:picChg>
        <pc:cxnChg chg="add mod">
          <ac:chgData name="Deshpande, Mayuri (T RDA FOA PAE-US)" userId="307bd999-17dd-4997-b1e2-139127ad27ac" providerId="ADAL" clId="{179BC8E9-6240-4755-8B11-A9D10960E425}" dt="2021-04-19T17:35:56.078" v="1143" actId="1076"/>
          <ac:cxnSpMkLst>
            <pc:docMk/>
            <pc:sldMk cId="3882935950" sldId="3202"/>
            <ac:cxnSpMk id="17" creationId="{72A5DECC-5B2A-4BF5-840A-B50C7DD2524C}"/>
          </ac:cxnSpMkLst>
        </pc:cxnChg>
        <pc:cxnChg chg="add del mod">
          <ac:chgData name="Deshpande, Mayuri (T RDA FOA PAE-US)" userId="307bd999-17dd-4997-b1e2-139127ad27ac" providerId="ADAL" clId="{179BC8E9-6240-4755-8B11-A9D10960E425}" dt="2021-04-19T17:21:32.999" v="985" actId="478"/>
          <ac:cxnSpMkLst>
            <pc:docMk/>
            <pc:sldMk cId="3882935950" sldId="3202"/>
            <ac:cxnSpMk id="18" creationId="{F55E71D6-7428-4C8B-99CB-E91D033901FA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20:20.278" v="967" actId="1076"/>
          <ac:cxnSpMkLst>
            <pc:docMk/>
            <pc:sldMk cId="3882935950" sldId="3202"/>
            <ac:cxnSpMk id="24" creationId="{5C77665B-D5E5-46D2-B288-8B7770C8B316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20:20.278" v="967" actId="1076"/>
          <ac:cxnSpMkLst>
            <pc:docMk/>
            <pc:sldMk cId="3882935950" sldId="3202"/>
            <ac:cxnSpMk id="26" creationId="{550ED748-9132-4F7F-9CA9-925B4FA759F4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20:20.278" v="967" actId="1076"/>
          <ac:cxnSpMkLst>
            <pc:docMk/>
            <pc:sldMk cId="3882935950" sldId="3202"/>
            <ac:cxnSpMk id="32" creationId="{9A45782A-B12B-47B1-9C05-FA070B167D3E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20:20.278" v="967" actId="1076"/>
          <ac:cxnSpMkLst>
            <pc:docMk/>
            <pc:sldMk cId="3882935950" sldId="3202"/>
            <ac:cxnSpMk id="34" creationId="{39C922E0-C9F9-4AED-9FAD-DB828E3843A7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20:20.278" v="967" actId="1076"/>
          <ac:cxnSpMkLst>
            <pc:docMk/>
            <pc:sldMk cId="3882935950" sldId="3202"/>
            <ac:cxnSpMk id="35" creationId="{7602CB98-CEB7-4FBA-87B4-771A2B5101A8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20:20.278" v="967" actId="1076"/>
          <ac:cxnSpMkLst>
            <pc:docMk/>
            <pc:sldMk cId="3882935950" sldId="3202"/>
            <ac:cxnSpMk id="36" creationId="{63AF8436-608A-41FE-819C-BD469C34EEAA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35:46.330" v="1142" actId="1076"/>
          <ac:cxnSpMkLst>
            <pc:docMk/>
            <pc:sldMk cId="3882935950" sldId="3202"/>
            <ac:cxnSpMk id="49" creationId="{0CA78173-89B3-4167-B631-3155CD3D4048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35:46.330" v="1142" actId="1076"/>
          <ac:cxnSpMkLst>
            <pc:docMk/>
            <pc:sldMk cId="3882935950" sldId="3202"/>
            <ac:cxnSpMk id="50" creationId="{BD19B9A4-06EC-40C0-83F0-51B1C343D1B2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35:46.330" v="1142" actId="1076"/>
          <ac:cxnSpMkLst>
            <pc:docMk/>
            <pc:sldMk cId="3882935950" sldId="3202"/>
            <ac:cxnSpMk id="51" creationId="{EFB993C0-4D47-4E9A-957F-7F736BB743F5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34:14.208" v="1133" actId="14100"/>
          <ac:cxnSpMkLst>
            <pc:docMk/>
            <pc:sldMk cId="3882935950" sldId="3202"/>
            <ac:cxnSpMk id="57" creationId="{9F2992F5-31E1-4E1C-A1D8-6FED1F79FF4F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35:56.078" v="1143" actId="1076"/>
          <ac:cxnSpMkLst>
            <pc:docMk/>
            <pc:sldMk cId="3882935950" sldId="3202"/>
            <ac:cxnSpMk id="100" creationId="{12F5169A-5775-41AA-809A-D5AD508501D3}"/>
          </ac:cxnSpMkLst>
        </pc:cxnChg>
      </pc:sldChg>
      <pc:sldChg chg="addSp delSp modSp new mod">
        <pc:chgData name="Deshpande, Mayuri (T RDA FOA PAE-US)" userId="307bd999-17dd-4997-b1e2-139127ad27ac" providerId="ADAL" clId="{179BC8E9-6240-4755-8B11-A9D10960E425}" dt="2021-04-19T23:08:14.834" v="1774" actId="20577"/>
        <pc:sldMkLst>
          <pc:docMk/>
          <pc:sldMk cId="793663221" sldId="3203"/>
        </pc:sldMkLst>
        <pc:spChg chg="mod">
          <ac:chgData name="Deshpande, Mayuri (T RDA FOA PAE-US)" userId="307bd999-17dd-4997-b1e2-139127ad27ac" providerId="ADAL" clId="{179BC8E9-6240-4755-8B11-A9D10960E425}" dt="2021-04-19T17:34:50.115" v="1139" actId="20577"/>
          <ac:spMkLst>
            <pc:docMk/>
            <pc:sldMk cId="793663221" sldId="3203"/>
            <ac:spMk id="2" creationId="{23EA1F05-DCD8-40DA-ACAC-38B39A2B7D10}"/>
          </ac:spMkLst>
        </pc:spChg>
        <pc:spChg chg="del">
          <ac:chgData name="Deshpande, Mayuri (T RDA FOA PAE-US)" userId="307bd999-17dd-4997-b1e2-139127ad27ac" providerId="ADAL" clId="{179BC8E9-6240-4755-8B11-A9D10960E425}" dt="2021-04-19T14:13:50.564" v="252" actId="478"/>
          <ac:spMkLst>
            <pc:docMk/>
            <pc:sldMk cId="793663221" sldId="3203"/>
            <ac:spMk id="3" creationId="{733220BA-6382-4875-97CF-8910725525A8}"/>
          </ac:spMkLst>
        </pc:spChg>
        <pc:spChg chg="mod">
          <ac:chgData name="Deshpande, Mayuri (T RDA FOA PAE-US)" userId="307bd999-17dd-4997-b1e2-139127ad27ac" providerId="ADAL" clId="{179BC8E9-6240-4755-8B11-A9D10960E425}" dt="2021-04-19T23:08:14.834" v="1774" actId="20577"/>
          <ac:spMkLst>
            <pc:docMk/>
            <pc:sldMk cId="793663221" sldId="3203"/>
            <ac:spMk id="4" creationId="{650305FE-4134-4E20-A2CA-AD1497FCF283}"/>
          </ac:spMkLst>
        </pc:spChg>
        <pc:spChg chg="add 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6" creationId="{1A199477-37D0-44C7-BE1C-7F0D02B1B0E8}"/>
          </ac:spMkLst>
        </pc:spChg>
        <pc:spChg chg="add 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7" creationId="{086F2544-70DE-492B-BCAA-F4DDE5B0A6E2}"/>
          </ac:spMkLst>
        </pc:spChg>
        <pc:spChg chg="add 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8" creationId="{9F33DF1F-6680-4C2F-B764-CC93593B1B12}"/>
          </ac:spMkLst>
        </pc:spChg>
        <pc:spChg chg="add 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11" creationId="{ABC12440-8915-4AB1-83D7-A1360C73D9EC}"/>
          </ac:spMkLst>
        </pc:spChg>
        <pc:spChg chg="add 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12" creationId="{A55743B1-2284-4D6D-BE7A-E2AFA19E3364}"/>
          </ac:spMkLst>
        </pc:spChg>
        <pc:spChg chg="add 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13" creationId="{E0901B3B-1A90-4CD3-A9F9-F254638593E6}"/>
          </ac:spMkLst>
        </pc:spChg>
        <pc:spChg chg="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16" creationId="{B5AF3F09-13B3-46F3-815B-6E0B4DBA7B55}"/>
          </ac:spMkLst>
        </pc:spChg>
        <pc:spChg chg="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17" creationId="{172A828A-0537-426A-9BFD-70A500F8B452}"/>
          </ac:spMkLst>
        </pc:spChg>
        <pc:spChg chg="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18" creationId="{2CB495E3-97A5-4F0E-B96D-7C21F0AB28DC}"/>
          </ac:spMkLst>
        </pc:spChg>
        <pc:spChg chg="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21" creationId="{F8281A41-E0CB-453D-8C0D-6A5E923ECFD0}"/>
          </ac:spMkLst>
        </pc:spChg>
        <pc:spChg chg="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22" creationId="{A4468926-BE06-4C35-9B2D-C44D745CE834}"/>
          </ac:spMkLst>
        </pc:spChg>
        <pc:spChg chg="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24" creationId="{32D6C52E-810A-4705-BB39-A9424693BF03}"/>
          </ac:spMkLst>
        </pc:spChg>
        <pc:spChg chg="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26" creationId="{CC413E49-182A-41EF-A38A-B30B02A240F6}"/>
          </ac:spMkLst>
        </pc:spChg>
        <pc:spChg chg="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27" creationId="{C5BBB507-5244-4C1B-829F-99BE4A471FE3}"/>
          </ac:spMkLst>
        </pc:spChg>
        <pc:spChg chg="mod">
          <ac:chgData name="Deshpande, Mayuri (T RDA FOA PAE-US)" userId="307bd999-17dd-4997-b1e2-139127ad27ac" providerId="ADAL" clId="{179BC8E9-6240-4755-8B11-A9D10960E425}" dt="2021-04-19T22:50:55.083" v="1534" actId="1076"/>
          <ac:spMkLst>
            <pc:docMk/>
            <pc:sldMk cId="793663221" sldId="3203"/>
            <ac:spMk id="29" creationId="{A841A73F-4F27-4DB1-821C-965BB867C238}"/>
          </ac:spMkLst>
        </pc:spChg>
        <pc:spChg chg="mod">
          <ac:chgData name="Deshpande, Mayuri (T RDA FOA PAE-US)" userId="307bd999-17dd-4997-b1e2-139127ad27ac" providerId="ADAL" clId="{179BC8E9-6240-4755-8B11-A9D10960E425}" dt="2021-04-19T22:59:27.727" v="1595" actId="1076"/>
          <ac:spMkLst>
            <pc:docMk/>
            <pc:sldMk cId="793663221" sldId="3203"/>
            <ac:spMk id="31" creationId="{A5808AC7-E07F-4C6F-9BF5-9299F7E81EB4}"/>
          </ac:spMkLst>
        </pc:spChg>
        <pc:spChg chg="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32" creationId="{73589C89-C9D8-4DE3-8FB6-AFA844B94E98}"/>
          </ac:spMkLst>
        </pc:spChg>
        <pc:spChg chg="mod">
          <ac:chgData name="Deshpande, Mayuri (T RDA FOA PAE-US)" userId="307bd999-17dd-4997-b1e2-139127ad27ac" providerId="ADAL" clId="{179BC8E9-6240-4755-8B11-A9D10960E425}" dt="2021-04-19T22:59:31.574" v="1597" actId="14100"/>
          <ac:spMkLst>
            <pc:docMk/>
            <pc:sldMk cId="793663221" sldId="3203"/>
            <ac:spMk id="33" creationId="{AC5C97A7-ED18-4FA7-92E4-D99D01821171}"/>
          </ac:spMkLst>
        </pc:spChg>
        <pc:spChg chg="mod">
          <ac:chgData name="Deshpande, Mayuri (T RDA FOA PAE-US)" userId="307bd999-17dd-4997-b1e2-139127ad27ac" providerId="ADAL" clId="{179BC8E9-6240-4755-8B11-A9D10960E425}" dt="2021-04-19T22:47:57.571" v="1464" actId="313"/>
          <ac:spMkLst>
            <pc:docMk/>
            <pc:sldMk cId="793663221" sldId="3203"/>
            <ac:spMk id="34" creationId="{69C176F8-389B-4519-B356-2472B8D50234}"/>
          </ac:spMkLst>
        </pc:spChg>
        <pc:spChg chg="mod">
          <ac:chgData name="Deshpande, Mayuri (T RDA FOA PAE-US)" userId="307bd999-17dd-4997-b1e2-139127ad27ac" providerId="ADAL" clId="{179BC8E9-6240-4755-8B11-A9D10960E425}" dt="2021-04-19T22:50:12.917" v="1525" actId="20577"/>
          <ac:spMkLst>
            <pc:docMk/>
            <pc:sldMk cId="793663221" sldId="3203"/>
            <ac:spMk id="35" creationId="{BCBBCC3B-9A30-4CA4-A4C7-9D94C22E5A05}"/>
          </ac:spMkLst>
        </pc:spChg>
        <pc:spChg chg="del mod">
          <ac:chgData name="Deshpande, Mayuri (T RDA FOA PAE-US)" userId="307bd999-17dd-4997-b1e2-139127ad27ac" providerId="ADAL" clId="{179BC8E9-6240-4755-8B11-A9D10960E425}" dt="2021-04-19T22:45:09.695" v="1318" actId="478"/>
          <ac:spMkLst>
            <pc:docMk/>
            <pc:sldMk cId="793663221" sldId="3203"/>
            <ac:spMk id="36" creationId="{3340CDE5-AE0B-4B9A-9FB6-ACC8C05D7673}"/>
          </ac:spMkLst>
        </pc:spChg>
        <pc:spChg chg="del mod">
          <ac:chgData name="Deshpande, Mayuri (T RDA FOA PAE-US)" userId="307bd999-17dd-4997-b1e2-139127ad27ac" providerId="ADAL" clId="{179BC8E9-6240-4755-8B11-A9D10960E425}" dt="2021-04-19T22:44:58.132" v="1315" actId="478"/>
          <ac:spMkLst>
            <pc:docMk/>
            <pc:sldMk cId="793663221" sldId="3203"/>
            <ac:spMk id="37" creationId="{63B88C38-8717-4FAE-89CF-6D86634C2FC4}"/>
          </ac:spMkLst>
        </pc:spChg>
        <pc:spChg chg="mod">
          <ac:chgData name="Deshpande, Mayuri (T RDA FOA PAE-US)" userId="307bd999-17dd-4997-b1e2-139127ad27ac" providerId="ADAL" clId="{179BC8E9-6240-4755-8B11-A9D10960E425}" dt="2021-04-19T22:51:22.663" v="1535" actId="14100"/>
          <ac:spMkLst>
            <pc:docMk/>
            <pc:sldMk cId="793663221" sldId="3203"/>
            <ac:spMk id="38" creationId="{1E6FEB5D-E6AB-49E7-963C-E7535A75E54E}"/>
          </ac:spMkLst>
        </pc:spChg>
        <pc:spChg chg="add 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48" creationId="{CAEF85BE-6A29-4984-94BE-EE15239391CE}"/>
          </ac:spMkLst>
        </pc:spChg>
        <pc:spChg chg="add mod">
          <ac:chgData name="Deshpande, Mayuri (T RDA FOA PAE-US)" userId="307bd999-17dd-4997-b1e2-139127ad27ac" providerId="ADAL" clId="{179BC8E9-6240-4755-8B11-A9D10960E425}" dt="2021-04-19T14:13:48.030" v="251"/>
          <ac:spMkLst>
            <pc:docMk/>
            <pc:sldMk cId="793663221" sldId="3203"/>
            <ac:spMk id="50" creationId="{710E0949-E9EF-4C35-A083-109C738614EA}"/>
          </ac:spMkLst>
        </pc:spChg>
        <pc:spChg chg="add mod">
          <ac:chgData name="Deshpande, Mayuri (T RDA FOA PAE-US)" userId="307bd999-17dd-4997-b1e2-139127ad27ac" providerId="ADAL" clId="{179BC8E9-6240-4755-8B11-A9D10960E425}" dt="2021-04-19T22:50:21.937" v="1527" actId="14100"/>
          <ac:spMkLst>
            <pc:docMk/>
            <pc:sldMk cId="793663221" sldId="3203"/>
            <ac:spMk id="55" creationId="{74E3436A-9AD0-45A6-9C7E-71260A1B7A88}"/>
          </ac:spMkLst>
        </pc:spChg>
        <pc:spChg chg="add mod">
          <ac:chgData name="Deshpande, Mayuri (T RDA FOA PAE-US)" userId="307bd999-17dd-4997-b1e2-139127ad27ac" providerId="ADAL" clId="{179BC8E9-6240-4755-8B11-A9D10960E425}" dt="2021-04-19T22:50:29.641" v="1529" actId="1076"/>
          <ac:spMkLst>
            <pc:docMk/>
            <pc:sldMk cId="793663221" sldId="3203"/>
            <ac:spMk id="56" creationId="{FB59BF86-6C62-4F31-8DE7-CEF66A5E18D0}"/>
          </ac:spMkLst>
        </pc:spChg>
        <pc:spChg chg="add del mod">
          <ac:chgData name="Deshpande, Mayuri (T RDA FOA PAE-US)" userId="307bd999-17dd-4997-b1e2-139127ad27ac" providerId="ADAL" clId="{179BC8E9-6240-4755-8B11-A9D10960E425}" dt="2021-04-19T22:47:39.714" v="1460"/>
          <ac:spMkLst>
            <pc:docMk/>
            <pc:sldMk cId="793663221" sldId="3203"/>
            <ac:spMk id="59" creationId="{980B3E80-A681-4794-8A2B-C8B866678761}"/>
          </ac:spMkLst>
        </pc:spChg>
        <pc:grpChg chg="add mod">
          <ac:chgData name="Deshpande, Mayuri (T RDA FOA PAE-US)" userId="307bd999-17dd-4997-b1e2-139127ad27ac" providerId="ADAL" clId="{179BC8E9-6240-4755-8B11-A9D10960E425}" dt="2021-04-19T14:13:48.030" v="251"/>
          <ac:grpSpMkLst>
            <pc:docMk/>
            <pc:sldMk cId="793663221" sldId="3203"/>
            <ac:grpSpMk id="15" creationId="{E740F4E4-357C-43AD-8FE7-2885FC9599AC}"/>
          </ac:grpSpMkLst>
        </pc:grpChg>
        <pc:grpChg chg="add mod">
          <ac:chgData name="Deshpande, Mayuri (T RDA FOA PAE-US)" userId="307bd999-17dd-4997-b1e2-139127ad27ac" providerId="ADAL" clId="{179BC8E9-6240-4755-8B11-A9D10960E425}" dt="2021-04-19T22:47:06.105" v="1449" actId="164"/>
          <ac:grpSpMkLst>
            <pc:docMk/>
            <pc:sldMk cId="793663221" sldId="3203"/>
            <ac:grpSpMk id="28" creationId="{3BF6B57D-2DB3-49C4-BFF5-2CE97B853912}"/>
          </ac:grpSpMkLst>
        </pc:grpChg>
        <pc:grpChg chg="mod">
          <ac:chgData name="Deshpande, Mayuri (T RDA FOA PAE-US)" userId="307bd999-17dd-4997-b1e2-139127ad27ac" providerId="ADAL" clId="{179BC8E9-6240-4755-8B11-A9D10960E425}" dt="2021-04-19T14:13:48.030" v="251"/>
          <ac:grpSpMkLst>
            <pc:docMk/>
            <pc:sldMk cId="793663221" sldId="3203"/>
            <ac:grpSpMk id="30" creationId="{0B37E528-36DF-45F4-9A2F-F1E6DBC2B648}"/>
          </ac:grpSpMkLst>
        </pc:grpChg>
        <pc:grpChg chg="add mod">
          <ac:chgData name="Deshpande, Mayuri (T RDA FOA PAE-US)" userId="307bd999-17dd-4997-b1e2-139127ad27ac" providerId="ADAL" clId="{179BC8E9-6240-4755-8B11-A9D10960E425}" dt="2021-04-19T22:47:15.358" v="1450" actId="1076"/>
          <ac:grpSpMkLst>
            <pc:docMk/>
            <pc:sldMk cId="793663221" sldId="3203"/>
            <ac:grpSpMk id="57" creationId="{AF829F1C-D1D6-4BB7-B30C-FCB1EE3BA863}"/>
          </ac:grpSpMkLst>
        </pc:grpChg>
        <pc:graphicFrameChg chg="add del mod">
          <ac:chgData name="Deshpande, Mayuri (T RDA FOA PAE-US)" userId="307bd999-17dd-4997-b1e2-139127ad27ac" providerId="ADAL" clId="{179BC8E9-6240-4755-8B11-A9D10960E425}" dt="2021-04-19T22:46:11.332" v="1427" actId="478"/>
          <ac:graphicFrameMkLst>
            <pc:docMk/>
            <pc:sldMk cId="793663221" sldId="3203"/>
            <ac:graphicFrameMk id="49" creationId="{85A4020A-1B95-4139-AA5E-41CB3255B695}"/>
          </ac:graphicFrameMkLst>
        </pc:graphicFrameChg>
        <pc:picChg chg="add mod">
          <ac:chgData name="Deshpande, Mayuri (T RDA FOA PAE-US)" userId="307bd999-17dd-4997-b1e2-139127ad27ac" providerId="ADAL" clId="{179BC8E9-6240-4755-8B11-A9D10960E425}" dt="2021-04-19T14:13:48.030" v="251"/>
          <ac:picMkLst>
            <pc:docMk/>
            <pc:sldMk cId="793663221" sldId="3203"/>
            <ac:picMk id="5" creationId="{1BA6BDF0-2A85-4210-BF1E-88ADBF91B7D0}"/>
          </ac:picMkLst>
        </pc:picChg>
        <pc:cxnChg chg="add 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9" creationId="{9FBDCE59-F617-4F8E-8557-E05B700A3D79}"/>
          </ac:cxnSpMkLst>
        </pc:cxnChg>
        <pc:cxnChg chg="add 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10" creationId="{49DD86D8-B77C-4E3C-A882-9A71A37CED8E}"/>
          </ac:cxnSpMkLst>
        </pc:cxnChg>
        <pc:cxnChg chg="add 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14" creationId="{A5EBB568-AD2B-48E6-A8D2-E7F28DB14D33}"/>
          </ac:cxnSpMkLst>
        </pc:cxnChg>
        <pc:cxnChg chg="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19" creationId="{2C4F7FD0-FF03-4BFF-8668-354BD1EE30E6}"/>
          </ac:cxnSpMkLst>
        </pc:cxnChg>
        <pc:cxnChg chg="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20" creationId="{4CF16D50-5219-4F2B-B6C1-5AAE1E7394B9}"/>
          </ac:cxnSpMkLst>
        </pc:cxnChg>
        <pc:cxnChg chg="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23" creationId="{DABBC539-335C-496E-BC8D-777571132AE1}"/>
          </ac:cxnSpMkLst>
        </pc:cxnChg>
        <pc:cxnChg chg="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25" creationId="{2A53F203-6DD9-4972-9AC3-124BB2D5325E}"/>
          </ac:cxnSpMkLst>
        </pc:cxnChg>
        <pc:cxnChg chg="mod">
          <ac:chgData name="Deshpande, Mayuri (T RDA FOA PAE-US)" userId="307bd999-17dd-4997-b1e2-139127ad27ac" providerId="ADAL" clId="{179BC8E9-6240-4755-8B11-A9D10960E425}" dt="2021-04-19T22:50:55.083" v="1534" actId="1076"/>
          <ac:cxnSpMkLst>
            <pc:docMk/>
            <pc:sldMk cId="793663221" sldId="3203"/>
            <ac:cxnSpMk id="39" creationId="{A0F3CEE4-5F4D-4048-9899-B07A1099DC3B}"/>
          </ac:cxnSpMkLst>
        </pc:cxnChg>
        <pc:cxnChg chg="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40" creationId="{ADA73C4E-756E-4D97-B849-8DC91AE7DD59}"/>
          </ac:cxnSpMkLst>
        </pc:cxnChg>
        <pc:cxnChg chg="mod">
          <ac:chgData name="Deshpande, Mayuri (T RDA FOA PAE-US)" userId="307bd999-17dd-4997-b1e2-139127ad27ac" providerId="ADAL" clId="{179BC8E9-6240-4755-8B11-A9D10960E425}" dt="2021-04-19T22:50:33.137" v="1530" actId="14100"/>
          <ac:cxnSpMkLst>
            <pc:docMk/>
            <pc:sldMk cId="793663221" sldId="3203"/>
            <ac:cxnSpMk id="41" creationId="{632C1828-4FE9-4A25-B49C-2C9FB4596834}"/>
          </ac:cxnSpMkLst>
        </pc:cxnChg>
        <pc:cxnChg chg="mod">
          <ac:chgData name="Deshpande, Mayuri (T RDA FOA PAE-US)" userId="307bd999-17dd-4997-b1e2-139127ad27ac" providerId="ADAL" clId="{179BC8E9-6240-4755-8B11-A9D10960E425}" dt="2021-04-19T22:50:36.352" v="1531" actId="14100"/>
          <ac:cxnSpMkLst>
            <pc:docMk/>
            <pc:sldMk cId="793663221" sldId="3203"/>
            <ac:cxnSpMk id="42" creationId="{D2FD0766-1294-42AE-8663-B84AC80A6CFE}"/>
          </ac:cxnSpMkLst>
        </pc:cxnChg>
        <pc:cxnChg chg="mod">
          <ac:chgData name="Deshpande, Mayuri (T RDA FOA PAE-US)" userId="307bd999-17dd-4997-b1e2-139127ad27ac" providerId="ADAL" clId="{179BC8E9-6240-4755-8B11-A9D10960E425}" dt="2021-04-19T22:51:22.663" v="1535" actId="14100"/>
          <ac:cxnSpMkLst>
            <pc:docMk/>
            <pc:sldMk cId="793663221" sldId="3203"/>
            <ac:cxnSpMk id="43" creationId="{167C7419-4BD8-4359-91DD-FE9CE47CBC0F}"/>
          </ac:cxnSpMkLst>
        </pc:cxnChg>
        <pc:cxnChg chg="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44" creationId="{5C2DF90C-8D78-4721-90AB-A5EE1053908D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31.574" v="1597" actId="14100"/>
          <ac:cxnSpMkLst>
            <pc:docMk/>
            <pc:sldMk cId="793663221" sldId="3203"/>
            <ac:cxnSpMk id="45" creationId="{964F5723-832C-4B0A-8D80-7A80EC06E89B}"/>
          </ac:cxnSpMkLst>
        </pc:cxnChg>
        <pc:cxnChg chg="mod">
          <ac:chgData name="Deshpande, Mayuri (T RDA FOA PAE-US)" userId="307bd999-17dd-4997-b1e2-139127ad27ac" providerId="ADAL" clId="{179BC8E9-6240-4755-8B11-A9D10960E425}" dt="2021-04-19T22:59:27.727" v="1595" actId="1076"/>
          <ac:cxnSpMkLst>
            <pc:docMk/>
            <pc:sldMk cId="793663221" sldId="3203"/>
            <ac:cxnSpMk id="46" creationId="{4273F884-24A2-4928-91E6-4353203FABAD}"/>
          </ac:cxnSpMkLst>
        </pc:cxnChg>
        <pc:cxnChg chg="add mod">
          <ac:chgData name="Deshpande, Mayuri (T RDA FOA PAE-US)" userId="307bd999-17dd-4997-b1e2-139127ad27ac" providerId="ADAL" clId="{179BC8E9-6240-4755-8B11-A9D10960E425}" dt="2021-04-19T14:13:48.030" v="251"/>
          <ac:cxnSpMkLst>
            <pc:docMk/>
            <pc:sldMk cId="793663221" sldId="3203"/>
            <ac:cxnSpMk id="47" creationId="{661EB009-DF4E-4F12-BA20-0E0D65ABEA3D}"/>
          </ac:cxnSpMkLst>
        </pc:cxnChg>
      </pc:sldChg>
      <pc:sldChg chg="addSp delSp modSp new del">
        <pc:chgData name="Deshpande, Mayuri (T RDA FOA PAE-US)" userId="307bd999-17dd-4997-b1e2-139127ad27ac" providerId="ADAL" clId="{179BC8E9-6240-4755-8B11-A9D10960E425}" dt="2021-04-19T14:19:07.359" v="292" actId="47"/>
        <pc:sldMkLst>
          <pc:docMk/>
          <pc:sldMk cId="1932475398" sldId="3204"/>
        </pc:sldMkLst>
        <pc:spChg chg="add del mod">
          <ac:chgData name="Deshpande, Mayuri (T RDA FOA PAE-US)" userId="307bd999-17dd-4997-b1e2-139127ad27ac" providerId="ADAL" clId="{179BC8E9-6240-4755-8B11-A9D10960E425}" dt="2021-04-19T14:17:34.577" v="274"/>
          <ac:spMkLst>
            <pc:docMk/>
            <pc:sldMk cId="1932475398" sldId="3204"/>
            <ac:spMk id="6" creationId="{8B5ECC6C-1C2C-4ED0-8CDF-861E1C471013}"/>
          </ac:spMkLst>
        </pc:spChg>
        <pc:spChg chg="add del mod">
          <ac:chgData name="Deshpande, Mayuri (T RDA FOA PAE-US)" userId="307bd999-17dd-4997-b1e2-139127ad27ac" providerId="ADAL" clId="{179BC8E9-6240-4755-8B11-A9D10960E425}" dt="2021-04-19T14:17:34.577" v="274"/>
          <ac:spMkLst>
            <pc:docMk/>
            <pc:sldMk cId="1932475398" sldId="3204"/>
            <ac:spMk id="10" creationId="{3F601D6E-9321-4CE0-BA63-7D6853A7E16B}"/>
          </ac:spMkLst>
        </pc:spChg>
        <pc:picChg chg="add del mod">
          <ac:chgData name="Deshpande, Mayuri (T RDA FOA PAE-US)" userId="307bd999-17dd-4997-b1e2-139127ad27ac" providerId="ADAL" clId="{179BC8E9-6240-4755-8B11-A9D10960E425}" dt="2021-04-19T14:17:34.577" v="274"/>
          <ac:picMkLst>
            <pc:docMk/>
            <pc:sldMk cId="1932475398" sldId="3204"/>
            <ac:picMk id="5" creationId="{CF9038D4-8344-4260-B189-E0FA428D724A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7:34.577" v="274"/>
          <ac:picMkLst>
            <pc:docMk/>
            <pc:sldMk cId="1932475398" sldId="3204"/>
            <ac:picMk id="7" creationId="{0A4C2B4D-3FCA-4E5E-88F5-11DC1B28D34B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7:34.577" v="274"/>
          <ac:picMkLst>
            <pc:docMk/>
            <pc:sldMk cId="1932475398" sldId="3204"/>
            <ac:picMk id="8" creationId="{F0D2CA9C-7D6D-46A6-91AD-E7DA1275834C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7:34.577" v="274"/>
          <ac:picMkLst>
            <pc:docMk/>
            <pc:sldMk cId="1932475398" sldId="3204"/>
            <ac:picMk id="9" creationId="{1570655D-CC42-4765-8553-B76E2A454032}"/>
          </ac:picMkLst>
        </pc:picChg>
      </pc:sldChg>
      <pc:sldChg chg="addSp delSp modSp new del mod setBg">
        <pc:chgData name="Deshpande, Mayuri (T RDA FOA PAE-US)" userId="307bd999-17dd-4997-b1e2-139127ad27ac" providerId="ADAL" clId="{179BC8E9-6240-4755-8B11-A9D10960E425}" dt="2021-04-19T14:15:48.154" v="262" actId="47"/>
        <pc:sldMkLst>
          <pc:docMk/>
          <pc:sldMk cId="4171365484" sldId="3204"/>
        </pc:sldMkLst>
        <pc:spChg chg="mod">
          <ac:chgData name="Deshpande, Mayuri (T RDA FOA PAE-US)" userId="307bd999-17dd-4997-b1e2-139127ad27ac" providerId="ADAL" clId="{179BC8E9-6240-4755-8B11-A9D10960E425}" dt="2021-04-19T14:15:33.600" v="259"/>
          <ac:spMkLst>
            <pc:docMk/>
            <pc:sldMk cId="4171365484" sldId="3204"/>
            <ac:spMk id="2" creationId="{96C35F9E-95AB-44A5-ABD9-8C831865FB98}"/>
          </ac:spMkLst>
        </pc:spChg>
        <pc:spChg chg="mod">
          <ac:chgData name="Deshpande, Mayuri (T RDA FOA PAE-US)" userId="307bd999-17dd-4997-b1e2-139127ad27ac" providerId="ADAL" clId="{179BC8E9-6240-4755-8B11-A9D10960E425}" dt="2021-04-19T14:15:22.065" v="258" actId="26606"/>
          <ac:spMkLst>
            <pc:docMk/>
            <pc:sldMk cId="4171365484" sldId="3204"/>
            <ac:spMk id="3" creationId="{558F4325-9E88-4680-8BA4-7F1A98715899}"/>
          </ac:spMkLst>
        </pc:spChg>
        <pc:spChg chg="mod ord">
          <ac:chgData name="Deshpande, Mayuri (T RDA FOA PAE-US)" userId="307bd999-17dd-4997-b1e2-139127ad27ac" providerId="ADAL" clId="{179BC8E9-6240-4755-8B11-A9D10960E425}" dt="2021-04-19T14:15:22.065" v="258" actId="26606"/>
          <ac:spMkLst>
            <pc:docMk/>
            <pc:sldMk cId="4171365484" sldId="3204"/>
            <ac:spMk id="4" creationId="{0D038E4B-B4CB-4BF5-BE5E-AEF9158B9950}"/>
          </ac:spMkLst>
        </pc:spChg>
        <pc:spChg chg="add del mod">
          <ac:chgData name="Deshpande, Mayuri (T RDA FOA PAE-US)" userId="307bd999-17dd-4997-b1e2-139127ad27ac" providerId="ADAL" clId="{179BC8E9-6240-4755-8B11-A9D10960E425}" dt="2021-04-19T14:15:22.065" v="258" actId="26606"/>
          <ac:spMkLst>
            <pc:docMk/>
            <pc:sldMk cId="4171365484" sldId="3204"/>
            <ac:spMk id="6" creationId="{5737B38C-8D72-48D6-9B49-B080683803B4}"/>
          </ac:spMkLst>
        </pc:spChg>
        <pc:spChg chg="add del">
          <ac:chgData name="Deshpande, Mayuri (T RDA FOA PAE-US)" userId="307bd999-17dd-4997-b1e2-139127ad27ac" providerId="ADAL" clId="{179BC8E9-6240-4755-8B11-A9D10960E425}" dt="2021-04-19T14:15:22.065" v="258" actId="26606"/>
          <ac:spMkLst>
            <pc:docMk/>
            <pc:sldMk cId="4171365484" sldId="3204"/>
            <ac:spMk id="12" creationId="{33CD251C-A887-4D2F-925B-FC097198538B}"/>
          </ac:spMkLst>
        </pc:spChg>
        <pc:grpChg chg="add del">
          <ac:chgData name="Deshpande, Mayuri (T RDA FOA PAE-US)" userId="307bd999-17dd-4997-b1e2-139127ad27ac" providerId="ADAL" clId="{179BC8E9-6240-4755-8B11-A9D10960E425}" dt="2021-04-19T14:15:22.065" v="258" actId="26606"/>
          <ac:grpSpMkLst>
            <pc:docMk/>
            <pc:sldMk cId="4171365484" sldId="3204"/>
            <ac:grpSpMk id="14" creationId="{770AE191-D2EA-45C9-A44D-830C188F74CB}"/>
          </ac:grpSpMkLst>
        </pc:grpChg>
        <pc:picChg chg="add mod ord">
          <ac:chgData name="Deshpande, Mayuri (T RDA FOA PAE-US)" userId="307bd999-17dd-4997-b1e2-139127ad27ac" providerId="ADAL" clId="{179BC8E9-6240-4755-8B11-A9D10960E425}" dt="2021-04-19T14:15:22.065" v="258" actId="26606"/>
          <ac:picMkLst>
            <pc:docMk/>
            <pc:sldMk cId="4171365484" sldId="3204"/>
            <ac:picMk id="5" creationId="{4EA56D46-6E0D-463B-AB3F-DA6459460920}"/>
          </ac:picMkLst>
        </pc:picChg>
        <pc:picChg chg="add mod">
          <ac:chgData name="Deshpande, Mayuri (T RDA FOA PAE-US)" userId="307bd999-17dd-4997-b1e2-139127ad27ac" providerId="ADAL" clId="{179BC8E9-6240-4755-8B11-A9D10960E425}" dt="2021-04-19T14:15:22.065" v="258" actId="26606"/>
          <ac:picMkLst>
            <pc:docMk/>
            <pc:sldMk cId="4171365484" sldId="3204"/>
            <ac:picMk id="7" creationId="{AC971928-819E-4136-8FCB-61B55C00F85C}"/>
          </ac:picMkLst>
        </pc:picChg>
      </pc:sldChg>
      <pc:sldChg chg="addSp delSp modSp new mod">
        <pc:chgData name="Deshpande, Mayuri (T RDA FOA PAE-US)" userId="307bd999-17dd-4997-b1e2-139127ad27ac" providerId="ADAL" clId="{179BC8E9-6240-4755-8B11-A9D10960E425}" dt="2021-04-19T23:08:23.745" v="1779" actId="20577"/>
        <pc:sldMkLst>
          <pc:docMk/>
          <pc:sldMk cId="785048686" sldId="3205"/>
        </pc:sldMkLst>
        <pc:spChg chg="del">
          <ac:chgData name="Deshpande, Mayuri (T RDA FOA PAE-US)" userId="307bd999-17dd-4997-b1e2-139127ad27ac" providerId="ADAL" clId="{179BC8E9-6240-4755-8B11-A9D10960E425}" dt="2021-04-19T14:18:09.729" v="279" actId="478"/>
          <ac:spMkLst>
            <pc:docMk/>
            <pc:sldMk cId="785048686" sldId="3205"/>
            <ac:spMk id="2" creationId="{07180BDC-0CC3-47C3-876D-DAEA798167F0}"/>
          </ac:spMkLst>
        </pc:spChg>
        <pc:spChg chg="mod">
          <ac:chgData name="Deshpande, Mayuri (T RDA FOA PAE-US)" userId="307bd999-17dd-4997-b1e2-139127ad27ac" providerId="ADAL" clId="{179BC8E9-6240-4755-8B11-A9D10960E425}" dt="2021-04-19T14:18:30.154" v="282"/>
          <ac:spMkLst>
            <pc:docMk/>
            <pc:sldMk cId="785048686" sldId="3205"/>
            <ac:spMk id="3" creationId="{78840B86-8461-42D6-8329-53131B539D96}"/>
          </ac:spMkLst>
        </pc:spChg>
        <pc:spChg chg="add del mod">
          <ac:chgData name="Deshpande, Mayuri (T RDA FOA PAE-US)" userId="307bd999-17dd-4997-b1e2-139127ad27ac" providerId="ADAL" clId="{179BC8E9-6240-4755-8B11-A9D10960E425}" dt="2021-04-19T14:17:59.624" v="277"/>
          <ac:spMkLst>
            <pc:docMk/>
            <pc:sldMk cId="785048686" sldId="3205"/>
            <ac:spMk id="5" creationId="{6F6F3726-76B9-4FCA-8E6F-88CD9260B2C7}"/>
          </ac:spMkLst>
        </pc:spChg>
        <pc:spChg chg="add del mod">
          <ac:chgData name="Deshpande, Mayuri (T RDA FOA PAE-US)" userId="307bd999-17dd-4997-b1e2-139127ad27ac" providerId="ADAL" clId="{179BC8E9-6240-4755-8B11-A9D10960E425}" dt="2021-04-19T14:17:59.624" v="277"/>
          <ac:spMkLst>
            <pc:docMk/>
            <pc:sldMk cId="785048686" sldId="3205"/>
            <ac:spMk id="9" creationId="{A5FE59CD-B18D-41AC-9BC8-09575B6A52A3}"/>
          </ac:spMkLst>
        </pc:spChg>
        <pc:spChg chg="add mod">
          <ac:chgData name="Deshpande, Mayuri (T RDA FOA PAE-US)" userId="307bd999-17dd-4997-b1e2-139127ad27ac" providerId="ADAL" clId="{179BC8E9-6240-4755-8B11-A9D10960E425}" dt="2021-04-19T14:19:02.752" v="291" actId="1076"/>
          <ac:spMkLst>
            <pc:docMk/>
            <pc:sldMk cId="785048686" sldId="3205"/>
            <ac:spMk id="11" creationId="{073DD7FB-1FE2-4872-BB0E-A87B9F031759}"/>
          </ac:spMkLst>
        </pc:spChg>
        <pc:spChg chg="add mod">
          <ac:chgData name="Deshpande, Mayuri (T RDA FOA PAE-US)" userId="307bd999-17dd-4997-b1e2-139127ad27ac" providerId="ADAL" clId="{179BC8E9-6240-4755-8B11-A9D10960E425}" dt="2021-04-19T14:18:42.875" v="284" actId="1076"/>
          <ac:spMkLst>
            <pc:docMk/>
            <pc:sldMk cId="785048686" sldId="3205"/>
            <ac:spMk id="15" creationId="{20A53185-D433-436B-86A7-2DF191E97478}"/>
          </ac:spMkLst>
        </pc:spChg>
        <pc:spChg chg="add del mod">
          <ac:chgData name="Deshpande, Mayuri (T RDA FOA PAE-US)" userId="307bd999-17dd-4997-b1e2-139127ad27ac" providerId="ADAL" clId="{179BC8E9-6240-4755-8B11-A9D10960E425}" dt="2021-04-19T14:18:20.998" v="281"/>
          <ac:spMkLst>
            <pc:docMk/>
            <pc:sldMk cId="785048686" sldId="3205"/>
            <ac:spMk id="17" creationId="{C70CD5F1-43B6-4B69-B219-1A13352A748F}"/>
          </ac:spMkLst>
        </pc:spChg>
        <pc:spChg chg="add del mod">
          <ac:chgData name="Deshpande, Mayuri (T RDA FOA PAE-US)" userId="307bd999-17dd-4997-b1e2-139127ad27ac" providerId="ADAL" clId="{179BC8E9-6240-4755-8B11-A9D10960E425}" dt="2021-04-19T14:18:20.998" v="281"/>
          <ac:spMkLst>
            <pc:docMk/>
            <pc:sldMk cId="785048686" sldId="3205"/>
            <ac:spMk id="21" creationId="{3BB75507-F698-46F6-B915-A2DE8A609398}"/>
          </ac:spMkLst>
        </pc:spChg>
        <pc:spChg chg="add mod">
          <ac:chgData name="Deshpande, Mayuri (T RDA FOA PAE-US)" userId="307bd999-17dd-4997-b1e2-139127ad27ac" providerId="ADAL" clId="{179BC8E9-6240-4755-8B11-A9D10960E425}" dt="2021-04-19T23:08:23.745" v="1779" actId="20577"/>
          <ac:spMkLst>
            <pc:docMk/>
            <pc:sldMk cId="785048686" sldId="3205"/>
            <ac:spMk id="22" creationId="{37A39E68-406A-4495-B3A8-1E8BFD70671B}"/>
          </ac:spMkLst>
        </pc:spChg>
        <pc:picChg chg="add del mod">
          <ac:chgData name="Deshpande, Mayuri (T RDA FOA PAE-US)" userId="307bd999-17dd-4997-b1e2-139127ad27ac" providerId="ADAL" clId="{179BC8E9-6240-4755-8B11-A9D10960E425}" dt="2021-04-19T14:17:59.624" v="277"/>
          <ac:picMkLst>
            <pc:docMk/>
            <pc:sldMk cId="785048686" sldId="3205"/>
            <ac:picMk id="4" creationId="{767B2105-73D9-42DA-B2BC-B4CF902BF0C4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7:59.624" v="277"/>
          <ac:picMkLst>
            <pc:docMk/>
            <pc:sldMk cId="785048686" sldId="3205"/>
            <ac:picMk id="6" creationId="{DB770814-F157-4884-B334-3ABBFB743A29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7:59.624" v="277"/>
          <ac:picMkLst>
            <pc:docMk/>
            <pc:sldMk cId="785048686" sldId="3205"/>
            <ac:picMk id="7" creationId="{01E273D4-FD6D-459A-B559-C911EC6CE0BE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7:59.624" v="277"/>
          <ac:picMkLst>
            <pc:docMk/>
            <pc:sldMk cId="785048686" sldId="3205"/>
            <ac:picMk id="8" creationId="{1512F8F6-AD45-4E53-A3C1-6CF0FD580B8F}"/>
          </ac:picMkLst>
        </pc:picChg>
        <pc:picChg chg="add mod">
          <ac:chgData name="Deshpande, Mayuri (T RDA FOA PAE-US)" userId="307bd999-17dd-4997-b1e2-139127ad27ac" providerId="ADAL" clId="{179BC8E9-6240-4755-8B11-A9D10960E425}" dt="2021-04-19T14:18:57.362" v="289" actId="14100"/>
          <ac:picMkLst>
            <pc:docMk/>
            <pc:sldMk cId="785048686" sldId="3205"/>
            <ac:picMk id="10" creationId="{9A90A9BE-1D5E-45C4-A863-C6E156F77FCB}"/>
          </ac:picMkLst>
        </pc:picChg>
        <pc:picChg chg="add mod">
          <ac:chgData name="Deshpande, Mayuri (T RDA FOA PAE-US)" userId="307bd999-17dd-4997-b1e2-139127ad27ac" providerId="ADAL" clId="{179BC8E9-6240-4755-8B11-A9D10960E425}" dt="2021-04-19T14:18:46.838" v="285" actId="14100"/>
          <ac:picMkLst>
            <pc:docMk/>
            <pc:sldMk cId="785048686" sldId="3205"/>
            <ac:picMk id="12" creationId="{38AF686C-E302-4FBC-B0C2-1B94CA470493}"/>
          </ac:picMkLst>
        </pc:picChg>
        <pc:picChg chg="add mod">
          <ac:chgData name="Deshpande, Mayuri (T RDA FOA PAE-US)" userId="307bd999-17dd-4997-b1e2-139127ad27ac" providerId="ADAL" clId="{179BC8E9-6240-4755-8B11-A9D10960E425}" dt="2021-04-19T14:18:59.087" v="290" actId="1076"/>
          <ac:picMkLst>
            <pc:docMk/>
            <pc:sldMk cId="785048686" sldId="3205"/>
            <ac:picMk id="13" creationId="{0A7FF4F1-8A28-4386-8E85-939BD34C5EF0}"/>
          </ac:picMkLst>
        </pc:picChg>
        <pc:picChg chg="add mod">
          <ac:chgData name="Deshpande, Mayuri (T RDA FOA PAE-US)" userId="307bd999-17dd-4997-b1e2-139127ad27ac" providerId="ADAL" clId="{179BC8E9-6240-4755-8B11-A9D10960E425}" dt="2021-04-19T14:18:39.457" v="283" actId="14100"/>
          <ac:picMkLst>
            <pc:docMk/>
            <pc:sldMk cId="785048686" sldId="3205"/>
            <ac:picMk id="14" creationId="{390FB3A6-F494-4126-AF24-CB99EC3347EB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8:20.998" v="281"/>
          <ac:picMkLst>
            <pc:docMk/>
            <pc:sldMk cId="785048686" sldId="3205"/>
            <ac:picMk id="16" creationId="{7801E734-BAA6-40DD-BD8E-0170E8B28158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8:20.998" v="281"/>
          <ac:picMkLst>
            <pc:docMk/>
            <pc:sldMk cId="785048686" sldId="3205"/>
            <ac:picMk id="18" creationId="{BD30550E-D986-4E3A-BAF4-D4743B95A024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8:20.998" v="281"/>
          <ac:picMkLst>
            <pc:docMk/>
            <pc:sldMk cId="785048686" sldId="3205"/>
            <ac:picMk id="19" creationId="{EF0D4322-3D34-4EF9-A8D9-B3A4D3F7E0A0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4:18:20.998" v="281"/>
          <ac:picMkLst>
            <pc:docMk/>
            <pc:sldMk cId="785048686" sldId="3205"/>
            <ac:picMk id="20" creationId="{85852A02-6C18-43ED-A9BB-CB79251C3F84}"/>
          </ac:picMkLst>
        </pc:picChg>
      </pc:sldChg>
      <pc:sldChg chg="new del">
        <pc:chgData name="Deshpande, Mayuri (T RDA FOA PAE-US)" userId="307bd999-17dd-4997-b1e2-139127ad27ac" providerId="ADAL" clId="{179BC8E9-6240-4755-8B11-A9D10960E425}" dt="2021-04-19T14:14:28.177" v="255" actId="47"/>
        <pc:sldMkLst>
          <pc:docMk/>
          <pc:sldMk cId="789992292" sldId="3205"/>
        </pc:sldMkLst>
      </pc:sldChg>
      <pc:sldChg chg="addSp delSp modSp new del mod">
        <pc:chgData name="Deshpande, Mayuri (T RDA FOA PAE-US)" userId="307bd999-17dd-4997-b1e2-139127ad27ac" providerId="ADAL" clId="{179BC8E9-6240-4755-8B11-A9D10960E425}" dt="2021-04-19T14:47:24.626" v="484" actId="47"/>
        <pc:sldMkLst>
          <pc:docMk/>
          <pc:sldMk cId="2046114014" sldId="3206"/>
        </pc:sldMkLst>
        <pc:spChg chg="del">
          <ac:chgData name="Deshpande, Mayuri (T RDA FOA PAE-US)" userId="307bd999-17dd-4997-b1e2-139127ad27ac" providerId="ADAL" clId="{179BC8E9-6240-4755-8B11-A9D10960E425}" dt="2021-04-19T14:39:18.884" v="393" actId="478"/>
          <ac:spMkLst>
            <pc:docMk/>
            <pc:sldMk cId="2046114014" sldId="3206"/>
            <ac:spMk id="2" creationId="{B90B636B-410B-483E-AADE-0BDCC4CF3797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5" creationId="{63B533B3-DF2E-4C2A-97D1-E724F40EDB74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6" creationId="{1B5A611B-1E5F-4C47-B94E-92EF6C797280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7" creationId="{5C300E17-8624-4705-9198-70901B04E4B5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8" creationId="{FC8C6B4A-0821-4016-8E95-43E4E101B7CF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9" creationId="{43100E2C-E7AC-4F6E-8971-0CD805AA3B38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10" creationId="{5DAC244B-EE7F-40EE-9AE1-D6AA1AF1255E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11" creationId="{267BD333-DFC0-4F8B-973D-CDAEFC3AE4E6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12" creationId="{D45FB028-0D2B-4221-BEB5-8080E5974C1A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13" creationId="{93FD71F7-2463-4960-A88A-D6CBD2392DCB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14" creationId="{BFFB8178-41FB-48E9-B7DE-6CC30F7A3229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15" creationId="{AB9CCCF9-A568-4157-B9EB-FC10C3CAD558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16" creationId="{E2103D67-997C-4C41-A808-3932C096066B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17" creationId="{02D01DA4-6781-4AA7-A85B-5E1B4D2A3896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18" creationId="{8F3F634B-3312-4BD8-AA09-3C242C3AA4CC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20" creationId="{1BFBA5E6-6B76-46BB-9699-4FAEED35B1C4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21" creationId="{14B2D8B2-BB5F-443A-BE40-C5CD1200777A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22" creationId="{138FCEDA-BE61-4BAB-86C7-FC13BFA36FDC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23" creationId="{8FBC9AC0-FAB8-47AB-B8CF-A78BE3462FE9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24" creationId="{44E14CEA-BD00-44D7-8175-89364427D7BC}"/>
          </ac:spMkLst>
        </pc:spChg>
        <pc:spChg chg="add mod">
          <ac:chgData name="Deshpande, Mayuri (T RDA FOA PAE-US)" userId="307bd999-17dd-4997-b1e2-139127ad27ac" providerId="ADAL" clId="{179BC8E9-6240-4755-8B11-A9D10960E425}" dt="2021-04-19T14:38:47.328" v="392" actId="164"/>
          <ac:spMkLst>
            <pc:docMk/>
            <pc:sldMk cId="2046114014" sldId="3206"/>
            <ac:spMk id="25" creationId="{0834AEBB-4B3B-4932-9425-1D5111B5934D}"/>
          </ac:spMkLst>
        </pc:spChg>
        <pc:grpChg chg="add mod">
          <ac:chgData name="Deshpande, Mayuri (T RDA FOA PAE-US)" userId="307bd999-17dd-4997-b1e2-139127ad27ac" providerId="ADAL" clId="{179BC8E9-6240-4755-8B11-A9D10960E425}" dt="2021-04-19T14:38:47.328" v="392" actId="164"/>
          <ac:grpSpMkLst>
            <pc:docMk/>
            <pc:sldMk cId="2046114014" sldId="3206"/>
            <ac:grpSpMk id="26" creationId="{D95AA95F-6C61-4EFB-9960-542ABA484C91}"/>
          </ac:grpSpMkLst>
        </pc:grpChg>
        <pc:picChg chg="add mod">
          <ac:chgData name="Deshpande, Mayuri (T RDA FOA PAE-US)" userId="307bd999-17dd-4997-b1e2-139127ad27ac" providerId="ADAL" clId="{179BC8E9-6240-4755-8B11-A9D10960E425}" dt="2021-04-19T14:38:47.328" v="392" actId="164"/>
          <ac:picMkLst>
            <pc:docMk/>
            <pc:sldMk cId="2046114014" sldId="3206"/>
            <ac:picMk id="4" creationId="{784CB4D5-CF4D-45A3-8E29-B1EFBA3F2408}"/>
          </ac:picMkLst>
        </pc:picChg>
        <pc:cxnChg chg="add mod">
          <ac:chgData name="Deshpande, Mayuri (T RDA FOA PAE-US)" userId="307bd999-17dd-4997-b1e2-139127ad27ac" providerId="ADAL" clId="{179BC8E9-6240-4755-8B11-A9D10960E425}" dt="2021-04-19T14:38:47.328" v="392" actId="164"/>
          <ac:cxnSpMkLst>
            <pc:docMk/>
            <pc:sldMk cId="2046114014" sldId="3206"/>
            <ac:cxnSpMk id="19" creationId="{178ECE45-01BA-4264-B0D1-D1E52E27B7A8}"/>
          </ac:cxnSpMkLst>
        </pc:cxnChg>
      </pc:sldChg>
      <pc:sldChg chg="addSp delSp modSp add del mod ord setBg delAnim delDesignElem">
        <pc:chgData name="Deshpande, Mayuri (T RDA FOA PAE-US)" userId="307bd999-17dd-4997-b1e2-139127ad27ac" providerId="ADAL" clId="{179BC8E9-6240-4755-8B11-A9D10960E425}" dt="2021-04-20T10:59:37.664" v="1783" actId="47"/>
        <pc:sldMkLst>
          <pc:docMk/>
          <pc:sldMk cId="3005992009" sldId="3207"/>
        </pc:sldMkLst>
        <pc:spChg chg="add">
          <ac:chgData name="Deshpande, Mayuri (T RDA FOA PAE-US)" userId="307bd999-17dd-4997-b1e2-139127ad27ac" providerId="ADAL" clId="{179BC8E9-6240-4755-8B11-A9D10960E425}" dt="2021-04-19T14:47:13.171" v="478" actId="26606"/>
          <ac:spMkLst>
            <pc:docMk/>
            <pc:sldMk cId="3005992009" sldId="3207"/>
            <ac:spMk id="4" creationId="{AB8C311F-7253-4AED-9701-7FC0708C41C7}"/>
          </ac:spMkLst>
        </pc:spChg>
        <pc:spChg chg="add">
          <ac:chgData name="Deshpande, Mayuri (T RDA FOA PAE-US)" userId="307bd999-17dd-4997-b1e2-139127ad27ac" providerId="ADAL" clId="{179BC8E9-6240-4755-8B11-A9D10960E425}" dt="2021-04-19T14:47:13.171" v="478" actId="26606"/>
          <ac:spMkLst>
            <pc:docMk/>
            <pc:sldMk cId="3005992009" sldId="3207"/>
            <ac:spMk id="5" creationId="{E2384209-CB15-4CDF-9D31-C44FD9A3F20D}"/>
          </ac:spMkLst>
        </pc:spChg>
        <pc:spChg chg="add">
          <ac:chgData name="Deshpande, Mayuri (T RDA FOA PAE-US)" userId="307bd999-17dd-4997-b1e2-139127ad27ac" providerId="ADAL" clId="{179BC8E9-6240-4755-8B11-A9D10960E425}" dt="2021-04-19T14:47:13.171" v="478" actId="26606"/>
          <ac:spMkLst>
            <pc:docMk/>
            <pc:sldMk cId="3005992009" sldId="3207"/>
            <ac:spMk id="6" creationId="{2633B3B5-CC90-43F0-8714-D31D1F3F0209}"/>
          </ac:spMkLst>
        </pc:spChg>
        <pc:spChg chg="del">
          <ac:chgData name="Deshpande, Mayuri (T RDA FOA PAE-US)" userId="307bd999-17dd-4997-b1e2-139127ad27ac" providerId="ADAL" clId="{179BC8E9-6240-4755-8B11-A9D10960E425}" dt="2021-04-19T14:47:09.827" v="477"/>
          <ac:spMkLst>
            <pc:docMk/>
            <pc:sldMk cId="3005992009" sldId="3207"/>
            <ac:spMk id="7" creationId="{AB8C311F-7253-4AED-9701-7FC0708C41C7}"/>
          </ac:spMkLst>
        </pc:spChg>
        <pc:spChg chg="add">
          <ac:chgData name="Deshpande, Mayuri (T RDA FOA PAE-US)" userId="307bd999-17dd-4997-b1e2-139127ad27ac" providerId="ADAL" clId="{179BC8E9-6240-4755-8B11-A9D10960E425}" dt="2021-04-19T14:47:13.171" v="478" actId="26606"/>
          <ac:spMkLst>
            <pc:docMk/>
            <pc:sldMk cId="3005992009" sldId="3207"/>
            <ac:spMk id="8" creationId="{A8D57A06-A426-446D-B02C-A2DC6B62E45E}"/>
          </ac:spMkLst>
        </pc:spChg>
        <pc:spChg chg="del">
          <ac:chgData name="Deshpande, Mayuri (T RDA FOA PAE-US)" userId="307bd999-17dd-4997-b1e2-139127ad27ac" providerId="ADAL" clId="{179BC8E9-6240-4755-8B11-A9D10960E425}" dt="2021-04-19T14:47:09.827" v="477"/>
          <ac:spMkLst>
            <pc:docMk/>
            <pc:sldMk cId="3005992009" sldId="3207"/>
            <ac:spMk id="9" creationId="{E2384209-CB15-4CDF-9D31-C44FD9A3F20D}"/>
          </ac:spMkLst>
        </pc:spChg>
        <pc:spChg chg="del">
          <ac:chgData name="Deshpande, Mayuri (T RDA FOA PAE-US)" userId="307bd999-17dd-4997-b1e2-139127ad27ac" providerId="ADAL" clId="{179BC8E9-6240-4755-8B11-A9D10960E425}" dt="2021-04-19T14:47:09.827" v="477"/>
          <ac:spMkLst>
            <pc:docMk/>
            <pc:sldMk cId="3005992009" sldId="3207"/>
            <ac:spMk id="11" creationId="{2633B3B5-CC90-43F0-8714-D31D1F3F0209}"/>
          </ac:spMkLst>
        </pc:spChg>
        <pc:spChg chg="del">
          <ac:chgData name="Deshpande, Mayuri (T RDA FOA PAE-US)" userId="307bd999-17dd-4997-b1e2-139127ad27ac" providerId="ADAL" clId="{179BC8E9-6240-4755-8B11-A9D10960E425}" dt="2021-04-19T14:47:09.827" v="477"/>
          <ac:spMkLst>
            <pc:docMk/>
            <pc:sldMk cId="3005992009" sldId="3207"/>
            <ac:spMk id="13" creationId="{A8D57A06-A426-446D-B02C-A2DC6B62E45E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15" creationId="{2A1F1D4B-86D7-48E3-9726-153E07368B99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16" creationId="{807F1951-8C37-4D50-9C5C-234E95731156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17" creationId="{E7F7598F-871B-4DFA-BA8D-2ABEA2EF0D72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18" creationId="{F26B9375-2F31-4746-91B7-42E1735A4E0E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19" creationId="{3E666FDB-4545-4F04-B47B-568E97A5DF14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20" creationId="{5B5E3905-C465-4A13-867A-45FE54871D92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21" creationId="{22D980C8-B916-4B84-97A6-B3B2CE7D982E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22" creationId="{1BC01B55-A35F-4EA6-8371-6BF98ACB83BC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23" creationId="{AB78F10C-27AC-4ADF-B775-C02A8D1789B0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24" creationId="{E6EA0783-3DE4-4223-9CB0-A964FCBAE2B4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25" creationId="{7370630B-41A2-40D1-808A-86F036F315D7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26" creationId="{3B7D6315-FAEA-4159-8395-51C21543FF8E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27" creationId="{47B00BBF-7464-47BE-BB0F-70F8A43F17B9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28" creationId="{0E22C915-E561-46FD-A687-DACD63CFE0DA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30" creationId="{F0C16E50-A42F-4474-852C-DDF51BB35D37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31" creationId="{2C7C755B-E604-4465-A502-FDBCF211E175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32" creationId="{12D1E9AA-2CF7-40DD-B3AC-3AE36613C1BB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33" creationId="{3212FCDE-C2A7-49A6-930D-0423D8CA44FA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34" creationId="{5C0BECB0-ED22-45AE-B86F-A3B93118416C}"/>
          </ac:spMkLst>
        </pc:spChg>
        <pc:spChg chg="mod">
          <ac:chgData name="Deshpande, Mayuri (T RDA FOA PAE-US)" userId="307bd999-17dd-4997-b1e2-139127ad27ac" providerId="ADAL" clId="{179BC8E9-6240-4755-8B11-A9D10960E425}" dt="2021-04-19T14:47:21.252" v="481"/>
          <ac:spMkLst>
            <pc:docMk/>
            <pc:sldMk cId="3005992009" sldId="3207"/>
            <ac:spMk id="35" creationId="{0253C57E-DFF6-4CF7-8F59-F1CA7601F6B9}"/>
          </ac:spMkLst>
        </pc:spChg>
        <pc:spChg chg="add mod">
          <ac:chgData name="Deshpande, Mayuri (T RDA FOA PAE-US)" userId="307bd999-17dd-4997-b1e2-139127ad27ac" providerId="ADAL" clId="{179BC8E9-6240-4755-8B11-A9D10960E425}" dt="2021-04-19T14:48:23.864" v="495"/>
          <ac:spMkLst>
            <pc:docMk/>
            <pc:sldMk cId="3005992009" sldId="3207"/>
            <ac:spMk id="36" creationId="{868CCEB8-CC5B-4519-A7B0-CB4D4421DA58}"/>
          </ac:spMkLst>
        </pc:spChg>
        <pc:grpChg chg="add mod">
          <ac:chgData name="Deshpande, Mayuri (T RDA FOA PAE-US)" userId="307bd999-17dd-4997-b1e2-139127ad27ac" providerId="ADAL" clId="{179BC8E9-6240-4755-8B11-A9D10960E425}" dt="2021-04-19T14:47:21.252" v="481"/>
          <ac:grpSpMkLst>
            <pc:docMk/>
            <pc:sldMk cId="3005992009" sldId="3207"/>
            <ac:grpSpMk id="12" creationId="{2C29A3B9-758C-49CC-91BF-D29E51543927}"/>
          </ac:grpSpMkLst>
        </pc:grpChg>
        <pc:picChg chg="del mod">
          <ac:chgData name="Deshpande, Mayuri (T RDA FOA PAE-US)" userId="307bd999-17dd-4997-b1e2-139127ad27ac" providerId="ADAL" clId="{179BC8E9-6240-4755-8B11-A9D10960E425}" dt="2021-04-19T14:47:15.554" v="480" actId="478"/>
          <ac:picMkLst>
            <pc:docMk/>
            <pc:sldMk cId="3005992009" sldId="3207"/>
            <ac:picMk id="2" creationId="{A2D24BE8-AA61-4881-AB4E-4AA07BA82D01}"/>
          </ac:picMkLst>
        </pc:picChg>
        <pc:picChg chg="mod">
          <ac:chgData name="Deshpande, Mayuri (T RDA FOA PAE-US)" userId="307bd999-17dd-4997-b1e2-139127ad27ac" providerId="ADAL" clId="{179BC8E9-6240-4755-8B11-A9D10960E425}" dt="2021-04-19T14:47:21.252" v="481"/>
          <ac:picMkLst>
            <pc:docMk/>
            <pc:sldMk cId="3005992009" sldId="3207"/>
            <ac:picMk id="14" creationId="{0373B910-67B8-47EC-877D-0E620EEC7499}"/>
          </ac:picMkLst>
        </pc:picChg>
        <pc:cxnChg chg="mod">
          <ac:chgData name="Deshpande, Mayuri (T RDA FOA PAE-US)" userId="307bd999-17dd-4997-b1e2-139127ad27ac" providerId="ADAL" clId="{179BC8E9-6240-4755-8B11-A9D10960E425}" dt="2021-04-19T14:47:21.252" v="481"/>
          <ac:cxnSpMkLst>
            <pc:docMk/>
            <pc:sldMk cId="3005992009" sldId="3207"/>
            <ac:cxnSpMk id="29" creationId="{6A647139-5E24-4B83-83E6-A30F3D6D1FB9}"/>
          </ac:cxnSpMkLst>
        </pc:cxnChg>
      </pc:sldChg>
      <pc:sldChg chg="addSp delSp modSp new mod">
        <pc:chgData name="Deshpande, Mayuri (T RDA FOA PAE-US)" userId="307bd999-17dd-4997-b1e2-139127ad27ac" providerId="ADAL" clId="{179BC8E9-6240-4755-8B11-A9D10960E425}" dt="2021-04-19T23:07:37.559" v="1751"/>
        <pc:sldMkLst>
          <pc:docMk/>
          <pc:sldMk cId="4138422705" sldId="3208"/>
        </pc:sldMkLst>
        <pc:spChg chg="mod">
          <ac:chgData name="Deshpande, Mayuri (T RDA FOA PAE-US)" userId="307bd999-17dd-4997-b1e2-139127ad27ac" providerId="ADAL" clId="{179BC8E9-6240-4755-8B11-A9D10960E425}" dt="2021-04-19T14:53:30.002" v="531"/>
          <ac:spMkLst>
            <pc:docMk/>
            <pc:sldMk cId="4138422705" sldId="3208"/>
            <ac:spMk id="2" creationId="{68E60FED-C07F-4313-9C61-9FE83E4657D6}"/>
          </ac:spMkLst>
        </pc:spChg>
        <pc:spChg chg="mod">
          <ac:chgData name="Deshpande, Mayuri (T RDA FOA PAE-US)" userId="307bd999-17dd-4997-b1e2-139127ad27ac" providerId="ADAL" clId="{179BC8E9-6240-4755-8B11-A9D10960E425}" dt="2021-04-19T23:07:37.559" v="1751"/>
          <ac:spMkLst>
            <pc:docMk/>
            <pc:sldMk cId="4138422705" sldId="3208"/>
            <ac:spMk id="3" creationId="{5C41D2B9-E847-4489-9FF9-E167D0254E8E}"/>
          </ac:spMkLst>
        </pc:spChg>
        <pc:spChg chg="add mod">
          <ac:chgData name="Deshpande, Mayuri (T RDA FOA PAE-US)" userId="307bd999-17dd-4997-b1e2-139127ad27ac" providerId="ADAL" clId="{179BC8E9-6240-4755-8B11-A9D10960E425}" dt="2021-04-19T14:53:42.688" v="534"/>
          <ac:spMkLst>
            <pc:docMk/>
            <pc:sldMk cId="4138422705" sldId="3208"/>
            <ac:spMk id="6" creationId="{64B63F73-6260-46AD-98DA-06AEAB095B3E}"/>
          </ac:spMkLst>
        </pc:spChg>
        <pc:spChg chg="add mod">
          <ac:chgData name="Deshpande, Mayuri (T RDA FOA PAE-US)" userId="307bd999-17dd-4997-b1e2-139127ad27ac" providerId="ADAL" clId="{179BC8E9-6240-4755-8B11-A9D10960E425}" dt="2021-04-19T14:53:42.688" v="534"/>
          <ac:spMkLst>
            <pc:docMk/>
            <pc:sldMk cId="4138422705" sldId="3208"/>
            <ac:spMk id="7" creationId="{737E70D6-3255-4659-8ED4-EB391C7812DA}"/>
          </ac:spMkLst>
        </pc:spChg>
        <pc:spChg chg="add mod">
          <ac:chgData name="Deshpande, Mayuri (T RDA FOA PAE-US)" userId="307bd999-17dd-4997-b1e2-139127ad27ac" providerId="ADAL" clId="{179BC8E9-6240-4755-8B11-A9D10960E425}" dt="2021-04-19T14:53:42.688" v="534"/>
          <ac:spMkLst>
            <pc:docMk/>
            <pc:sldMk cId="4138422705" sldId="3208"/>
            <ac:spMk id="8" creationId="{FFB08F1A-7C93-407F-8415-864EB6140985}"/>
          </ac:spMkLst>
        </pc:spChg>
        <pc:spChg chg="add mod">
          <ac:chgData name="Deshpande, Mayuri (T RDA FOA PAE-US)" userId="307bd999-17dd-4997-b1e2-139127ad27ac" providerId="ADAL" clId="{179BC8E9-6240-4755-8B11-A9D10960E425}" dt="2021-04-19T14:53:42.688" v="534"/>
          <ac:spMkLst>
            <pc:docMk/>
            <pc:sldMk cId="4138422705" sldId="3208"/>
            <ac:spMk id="21" creationId="{FFC2C63A-5595-4628-8B0B-D9D5C050616C}"/>
          </ac:spMkLst>
        </pc:spChg>
        <pc:spChg chg="add del mod">
          <ac:chgData name="Deshpande, Mayuri (T RDA FOA PAE-US)" userId="307bd999-17dd-4997-b1e2-139127ad27ac" providerId="ADAL" clId="{179BC8E9-6240-4755-8B11-A9D10960E425}" dt="2021-04-19T14:53:47.421" v="535" actId="478"/>
          <ac:spMkLst>
            <pc:docMk/>
            <pc:sldMk cId="4138422705" sldId="3208"/>
            <ac:spMk id="22" creationId="{B6A89109-03D7-4C23-8C45-CBD73007F489}"/>
          </ac:spMkLst>
        </pc:spChg>
        <pc:grpChg chg="add mod">
          <ac:chgData name="Deshpande, Mayuri (T RDA FOA PAE-US)" userId="307bd999-17dd-4997-b1e2-139127ad27ac" providerId="ADAL" clId="{179BC8E9-6240-4755-8B11-A9D10960E425}" dt="2021-04-19T14:53:42.688" v="534"/>
          <ac:grpSpMkLst>
            <pc:docMk/>
            <pc:sldMk cId="4138422705" sldId="3208"/>
            <ac:grpSpMk id="9" creationId="{44BA5D64-AF95-470B-ABB4-09062CD4BB15}"/>
          </ac:grpSpMkLst>
        </pc:grpChg>
        <pc:graphicFrameChg chg="add mod">
          <ac:chgData name="Deshpande, Mayuri (T RDA FOA PAE-US)" userId="307bd999-17dd-4997-b1e2-139127ad27ac" providerId="ADAL" clId="{179BC8E9-6240-4755-8B11-A9D10960E425}" dt="2021-04-19T14:53:42.688" v="534"/>
          <ac:graphicFrameMkLst>
            <pc:docMk/>
            <pc:sldMk cId="4138422705" sldId="3208"/>
            <ac:graphicFrameMk id="20" creationId="{C1F36F49-8754-4764-8F94-4F41EABC5448}"/>
          </ac:graphicFrameMkLst>
        </pc:graphicFrameChg>
        <pc:picChg chg="add mod">
          <ac:chgData name="Deshpande, Mayuri (T RDA FOA PAE-US)" userId="307bd999-17dd-4997-b1e2-139127ad27ac" providerId="ADAL" clId="{179BC8E9-6240-4755-8B11-A9D10960E425}" dt="2021-04-19T14:53:42.688" v="534"/>
          <ac:picMkLst>
            <pc:docMk/>
            <pc:sldMk cId="4138422705" sldId="3208"/>
            <ac:picMk id="5" creationId="{BC39BA7C-15A0-4DCF-94C3-0B007F32FAB8}"/>
          </ac:picMkLst>
        </pc:picChg>
        <pc:picChg chg="mod">
          <ac:chgData name="Deshpande, Mayuri (T RDA FOA PAE-US)" userId="307bd999-17dd-4997-b1e2-139127ad27ac" providerId="ADAL" clId="{179BC8E9-6240-4755-8B11-A9D10960E425}" dt="2021-04-19T14:53:42.688" v="534"/>
          <ac:picMkLst>
            <pc:docMk/>
            <pc:sldMk cId="4138422705" sldId="3208"/>
            <ac:picMk id="10" creationId="{9EBF55B3-E584-4624-9673-5C32E8826436}"/>
          </ac:picMkLst>
        </pc:picChg>
        <pc:picChg chg="mod">
          <ac:chgData name="Deshpande, Mayuri (T RDA FOA PAE-US)" userId="307bd999-17dd-4997-b1e2-139127ad27ac" providerId="ADAL" clId="{179BC8E9-6240-4755-8B11-A9D10960E425}" dt="2021-04-19T14:53:42.688" v="534"/>
          <ac:picMkLst>
            <pc:docMk/>
            <pc:sldMk cId="4138422705" sldId="3208"/>
            <ac:picMk id="11" creationId="{D4EADE3C-DBB4-42BE-8EC8-63E31164153C}"/>
          </ac:picMkLst>
        </pc:picChg>
        <pc:picChg chg="mod">
          <ac:chgData name="Deshpande, Mayuri (T RDA FOA PAE-US)" userId="307bd999-17dd-4997-b1e2-139127ad27ac" providerId="ADAL" clId="{179BC8E9-6240-4755-8B11-A9D10960E425}" dt="2021-04-19T14:53:42.688" v="534"/>
          <ac:picMkLst>
            <pc:docMk/>
            <pc:sldMk cId="4138422705" sldId="3208"/>
            <ac:picMk id="12" creationId="{4A8D6057-5B1E-4522-AB30-AAFFD8FF04DA}"/>
          </ac:picMkLst>
        </pc:picChg>
        <pc:picChg chg="mod">
          <ac:chgData name="Deshpande, Mayuri (T RDA FOA PAE-US)" userId="307bd999-17dd-4997-b1e2-139127ad27ac" providerId="ADAL" clId="{179BC8E9-6240-4755-8B11-A9D10960E425}" dt="2021-04-19T14:53:42.688" v="534"/>
          <ac:picMkLst>
            <pc:docMk/>
            <pc:sldMk cId="4138422705" sldId="3208"/>
            <ac:picMk id="13" creationId="{34A80CD1-C066-4CAA-A38C-6B0A396E120D}"/>
          </ac:picMkLst>
        </pc:picChg>
        <pc:picChg chg="mod">
          <ac:chgData name="Deshpande, Mayuri (T RDA FOA PAE-US)" userId="307bd999-17dd-4997-b1e2-139127ad27ac" providerId="ADAL" clId="{179BC8E9-6240-4755-8B11-A9D10960E425}" dt="2021-04-19T14:53:42.688" v="534"/>
          <ac:picMkLst>
            <pc:docMk/>
            <pc:sldMk cId="4138422705" sldId="3208"/>
            <ac:picMk id="17" creationId="{ED2C7184-C18B-4281-8D32-DC47B22A3505}"/>
          </ac:picMkLst>
        </pc:picChg>
        <pc:picChg chg="mod">
          <ac:chgData name="Deshpande, Mayuri (T RDA FOA PAE-US)" userId="307bd999-17dd-4997-b1e2-139127ad27ac" providerId="ADAL" clId="{179BC8E9-6240-4755-8B11-A9D10960E425}" dt="2021-04-19T14:53:42.688" v="534"/>
          <ac:picMkLst>
            <pc:docMk/>
            <pc:sldMk cId="4138422705" sldId="3208"/>
            <ac:picMk id="18" creationId="{48325AD3-F932-462D-B40A-DCD6D15D9228}"/>
          </ac:picMkLst>
        </pc:picChg>
        <pc:picChg chg="mod">
          <ac:chgData name="Deshpande, Mayuri (T RDA FOA PAE-US)" userId="307bd999-17dd-4997-b1e2-139127ad27ac" providerId="ADAL" clId="{179BC8E9-6240-4755-8B11-A9D10960E425}" dt="2021-04-19T14:53:42.688" v="534"/>
          <ac:picMkLst>
            <pc:docMk/>
            <pc:sldMk cId="4138422705" sldId="3208"/>
            <ac:picMk id="19" creationId="{03C609FB-5EF5-4406-B327-CFC30BE33415}"/>
          </ac:picMkLst>
        </pc:picChg>
        <pc:cxnChg chg="mod">
          <ac:chgData name="Deshpande, Mayuri (T RDA FOA PAE-US)" userId="307bd999-17dd-4997-b1e2-139127ad27ac" providerId="ADAL" clId="{179BC8E9-6240-4755-8B11-A9D10960E425}" dt="2021-04-19T14:53:42.688" v="534"/>
          <ac:cxnSpMkLst>
            <pc:docMk/>
            <pc:sldMk cId="4138422705" sldId="3208"/>
            <ac:cxnSpMk id="14" creationId="{DE242967-DCC0-4405-A145-00613E2E9A6F}"/>
          </ac:cxnSpMkLst>
        </pc:cxnChg>
        <pc:cxnChg chg="mod">
          <ac:chgData name="Deshpande, Mayuri (T RDA FOA PAE-US)" userId="307bd999-17dd-4997-b1e2-139127ad27ac" providerId="ADAL" clId="{179BC8E9-6240-4755-8B11-A9D10960E425}" dt="2021-04-19T14:53:42.688" v="534"/>
          <ac:cxnSpMkLst>
            <pc:docMk/>
            <pc:sldMk cId="4138422705" sldId="3208"/>
            <ac:cxnSpMk id="15" creationId="{24CE8ED6-48BC-4637-B97A-577B138F9359}"/>
          </ac:cxnSpMkLst>
        </pc:cxnChg>
        <pc:cxnChg chg="mod">
          <ac:chgData name="Deshpande, Mayuri (T RDA FOA PAE-US)" userId="307bd999-17dd-4997-b1e2-139127ad27ac" providerId="ADAL" clId="{179BC8E9-6240-4755-8B11-A9D10960E425}" dt="2021-04-19T14:53:42.688" v="534"/>
          <ac:cxnSpMkLst>
            <pc:docMk/>
            <pc:sldMk cId="4138422705" sldId="3208"/>
            <ac:cxnSpMk id="16" creationId="{25218321-81C8-4452-9563-1E072D65AF7D}"/>
          </ac:cxnSpMkLst>
        </pc:cxnChg>
      </pc:sldChg>
      <pc:sldChg chg="modSp new del mod">
        <pc:chgData name="Deshpande, Mayuri (T RDA FOA PAE-US)" userId="307bd999-17dd-4997-b1e2-139127ad27ac" providerId="ADAL" clId="{179BC8E9-6240-4755-8B11-A9D10960E425}" dt="2021-04-19T21:46:22.249" v="1155" actId="680"/>
        <pc:sldMkLst>
          <pc:docMk/>
          <pc:sldMk cId="1153011868" sldId="3209"/>
        </pc:sldMkLst>
        <pc:spChg chg="mod">
          <ac:chgData name="Deshpande, Mayuri (T RDA FOA PAE-US)" userId="307bd999-17dd-4997-b1e2-139127ad27ac" providerId="ADAL" clId="{179BC8E9-6240-4755-8B11-A9D10960E425}" dt="2021-04-19T21:46:20.763" v="1154"/>
          <ac:spMkLst>
            <pc:docMk/>
            <pc:sldMk cId="1153011868" sldId="3209"/>
            <ac:spMk id="2" creationId="{537BE96B-E23F-4EAE-A53C-485EE90F883A}"/>
          </ac:spMkLst>
        </pc:spChg>
      </pc:sldChg>
      <pc:sldChg chg="modSp new mod">
        <pc:chgData name="Deshpande, Mayuri (T RDA FOA PAE-US)" userId="307bd999-17dd-4997-b1e2-139127ad27ac" providerId="ADAL" clId="{179BC8E9-6240-4755-8B11-A9D10960E425}" dt="2021-04-19T22:54:25.258" v="1550" actId="1076"/>
        <pc:sldMkLst>
          <pc:docMk/>
          <pc:sldMk cId="1894407668" sldId="3209"/>
        </pc:sldMkLst>
        <pc:spChg chg="mod">
          <ac:chgData name="Deshpande, Mayuri (T RDA FOA PAE-US)" userId="307bd999-17dd-4997-b1e2-139127ad27ac" providerId="ADAL" clId="{179BC8E9-6240-4755-8B11-A9D10960E425}" dt="2021-04-19T21:46:45.850" v="1159" actId="207"/>
          <ac:spMkLst>
            <pc:docMk/>
            <pc:sldMk cId="1894407668" sldId="3209"/>
            <ac:spMk id="2" creationId="{DAB03F5A-A39F-4AC0-8800-3953C9A32342}"/>
          </ac:spMkLst>
        </pc:spChg>
        <pc:spChg chg="mod">
          <ac:chgData name="Deshpande, Mayuri (T RDA FOA PAE-US)" userId="307bd999-17dd-4997-b1e2-139127ad27ac" providerId="ADAL" clId="{179BC8E9-6240-4755-8B11-A9D10960E425}" dt="2021-04-19T22:39:00.622" v="1255" actId="20577"/>
          <ac:spMkLst>
            <pc:docMk/>
            <pc:sldMk cId="1894407668" sldId="3209"/>
            <ac:spMk id="3" creationId="{CDD99E0C-5C36-40BC-A4C0-734D5DE8589D}"/>
          </ac:spMkLst>
        </pc:spChg>
        <pc:spChg chg="mod">
          <ac:chgData name="Deshpande, Mayuri (T RDA FOA PAE-US)" userId="307bd999-17dd-4997-b1e2-139127ad27ac" providerId="ADAL" clId="{179BC8E9-6240-4755-8B11-A9D10960E425}" dt="2021-04-19T22:54:25.258" v="1550" actId="1076"/>
          <ac:spMkLst>
            <pc:docMk/>
            <pc:sldMk cId="1894407668" sldId="3209"/>
            <ac:spMk id="4" creationId="{A5D4B1CA-70E5-41E6-AFDB-B8544B741434}"/>
          </ac:spMkLst>
        </pc:spChg>
      </pc:sldChg>
      <pc:sldChg chg="addSp delSp modSp new del mod ord">
        <pc:chgData name="Deshpande, Mayuri (T RDA FOA PAE-US)" userId="307bd999-17dd-4997-b1e2-139127ad27ac" providerId="ADAL" clId="{179BC8E9-6240-4755-8B11-A9D10960E425}" dt="2021-04-19T17:34:59.698" v="1140" actId="47"/>
        <pc:sldMkLst>
          <pc:docMk/>
          <pc:sldMk cId="3871888997" sldId="3209"/>
        </pc:sldMkLst>
        <pc:spChg chg="mod">
          <ac:chgData name="Deshpande, Mayuri (T RDA FOA PAE-US)" userId="307bd999-17dd-4997-b1e2-139127ad27ac" providerId="ADAL" clId="{179BC8E9-6240-4755-8B11-A9D10960E425}" dt="2021-04-19T17:13:28.839" v="964" actId="20577"/>
          <ac:spMkLst>
            <pc:docMk/>
            <pc:sldMk cId="3871888997" sldId="3209"/>
            <ac:spMk id="2" creationId="{AE78FAB8-00B4-43E8-A795-D41C3C48455D}"/>
          </ac:spMkLst>
        </pc:spChg>
        <pc:spChg chg="del">
          <ac:chgData name="Deshpande, Mayuri (T RDA FOA PAE-US)" userId="307bd999-17dd-4997-b1e2-139127ad27ac" providerId="ADAL" clId="{179BC8E9-6240-4755-8B11-A9D10960E425}" dt="2021-04-19T16:51:07.319" v="603" actId="478"/>
          <ac:spMkLst>
            <pc:docMk/>
            <pc:sldMk cId="3871888997" sldId="3209"/>
            <ac:spMk id="3" creationId="{4B3519BA-95C9-44D3-B009-6D1CF083FFB4}"/>
          </ac:spMkLst>
        </pc:spChg>
        <pc:spChg chg="add del mod">
          <ac:chgData name="Deshpande, Mayuri (T RDA FOA PAE-US)" userId="307bd999-17dd-4997-b1e2-139127ad27ac" providerId="ADAL" clId="{179BC8E9-6240-4755-8B11-A9D10960E425}" dt="2021-04-19T16:51:07.319" v="605"/>
          <ac:spMkLst>
            <pc:docMk/>
            <pc:sldMk cId="3871888997" sldId="3209"/>
            <ac:spMk id="14" creationId="{1123B64B-DB92-4C96-AB2D-D2D15B216198}"/>
          </ac:spMkLst>
        </pc:spChg>
        <pc:spChg chg="add mod">
          <ac:chgData name="Deshpande, Mayuri (T RDA FOA PAE-US)" userId="307bd999-17dd-4997-b1e2-139127ad27ac" providerId="ADAL" clId="{179BC8E9-6240-4755-8B11-A9D10960E425}" dt="2021-04-19T17:14:07.289" v="965" actId="1076"/>
          <ac:spMkLst>
            <pc:docMk/>
            <pc:sldMk cId="3871888997" sldId="3209"/>
            <ac:spMk id="15" creationId="{64194AC7-20EE-48B0-9E51-41F298AC1E34}"/>
          </ac:spMkLst>
        </pc:spChg>
        <pc:spChg chg="add mod">
          <ac:chgData name="Deshpande, Mayuri (T RDA FOA PAE-US)" userId="307bd999-17dd-4997-b1e2-139127ad27ac" providerId="ADAL" clId="{179BC8E9-6240-4755-8B11-A9D10960E425}" dt="2021-04-19T17:14:07.289" v="965" actId="1076"/>
          <ac:spMkLst>
            <pc:docMk/>
            <pc:sldMk cId="3871888997" sldId="3209"/>
            <ac:spMk id="16" creationId="{5BAC82CE-2FAE-4D59-A2AC-3F471B39ABCC}"/>
          </ac:spMkLst>
        </pc:spChg>
        <pc:spChg chg="add mod">
          <ac:chgData name="Deshpande, Mayuri (T RDA FOA PAE-US)" userId="307bd999-17dd-4997-b1e2-139127ad27ac" providerId="ADAL" clId="{179BC8E9-6240-4755-8B11-A9D10960E425}" dt="2021-04-19T17:14:07.289" v="965" actId="1076"/>
          <ac:spMkLst>
            <pc:docMk/>
            <pc:sldMk cId="3871888997" sldId="3209"/>
            <ac:spMk id="17" creationId="{76D28E41-567C-4917-AEFC-E5B47636AEB8}"/>
          </ac:spMkLst>
        </pc:spChg>
        <pc:spChg chg="add mod">
          <ac:chgData name="Deshpande, Mayuri (T RDA FOA PAE-US)" userId="307bd999-17dd-4997-b1e2-139127ad27ac" providerId="ADAL" clId="{179BC8E9-6240-4755-8B11-A9D10960E425}" dt="2021-04-19T17:14:07.289" v="965" actId="1076"/>
          <ac:spMkLst>
            <pc:docMk/>
            <pc:sldMk cId="3871888997" sldId="3209"/>
            <ac:spMk id="18" creationId="{064FE7EC-6C0A-4D7C-B2E7-19C6C6987561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26" creationId="{29C75DD2-2172-4841-B9E6-987C3E7FBE87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27" creationId="{298B74C5-E427-499A-9BFA-DD348B9456D5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28" creationId="{F5427958-E756-49B9-97CF-7842FA607AFC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29" creationId="{5FE6A4AC-AAF8-40E3-BA51-3F74C755D817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0" creationId="{4B2BC217-CF0F-4857-B51A-5133455C2799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1" creationId="{076907A9-ECAD-4886-B7A7-0CC2FB0EE9D5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2" creationId="{5F4C1235-A2C1-4EF1-AFD0-FA87371690E1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3" creationId="{50A75322-D79F-4C20-804C-0F9544942AAD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4" creationId="{46161F9A-9D8D-4315-90B9-B6AA7E04D6AE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5" creationId="{3BC7E17B-D6A0-4326-B74A-2DE117C5F44B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6" creationId="{CF596BD5-5AD1-4B81-944C-67A3F1F6DC31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7" creationId="{A62E2C60-265F-4697-8972-28080FAD8637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8" creationId="{7B78715C-DA34-46B3-AD71-AD474EA5DC4D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39" creationId="{0F111558-1B8F-4122-B125-18CA6CD56FBD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41" creationId="{39844A89-C323-4BB0-A230-A630D2BC1C74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42" creationId="{CF4AB803-8434-49EF-AF22-474B77A92A50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43" creationId="{6D73E50B-05FD-4556-984C-DC1F9FD71090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44" creationId="{6DCCDFDA-4D40-4F85-A5D7-80CB7CC0379F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45" creationId="{64F4B354-161C-4F8D-926D-E2A7FF9E7D90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8:50.638" v="835" actId="165"/>
          <ac:spMkLst>
            <pc:docMk/>
            <pc:sldMk cId="3871888997" sldId="3209"/>
            <ac:spMk id="46" creationId="{EB3E6C69-B891-4275-A40C-1714DB7CC9AC}"/>
          </ac:spMkLst>
        </pc:spChg>
        <pc:spChg chg="add mod">
          <ac:chgData name="Deshpande, Mayuri (T RDA FOA PAE-US)" userId="307bd999-17dd-4997-b1e2-139127ad27ac" providerId="ADAL" clId="{179BC8E9-6240-4755-8B11-A9D10960E425}" dt="2021-04-19T17:14:07.289" v="965" actId="1076"/>
          <ac:spMkLst>
            <pc:docMk/>
            <pc:sldMk cId="3871888997" sldId="3209"/>
            <ac:spMk id="49" creationId="{999EBF26-49FE-4B9A-B940-84E80A316B2C}"/>
          </ac:spMkLst>
        </pc:spChg>
        <pc:spChg chg="add del mod">
          <ac:chgData name="Deshpande, Mayuri (T RDA FOA PAE-US)" userId="307bd999-17dd-4997-b1e2-139127ad27ac" providerId="ADAL" clId="{179BC8E9-6240-4755-8B11-A9D10960E425}" dt="2021-04-19T17:02:40.222" v="915" actId="478"/>
          <ac:spMkLst>
            <pc:docMk/>
            <pc:sldMk cId="3871888997" sldId="3209"/>
            <ac:spMk id="50" creationId="{ED812A88-D769-4950-B10F-7DA7729B212D}"/>
          </ac:spMkLst>
        </pc:spChg>
        <pc:grpChg chg="add del mod">
          <ac:chgData name="Deshpande, Mayuri (T RDA FOA PAE-US)" userId="307bd999-17dd-4997-b1e2-139127ad27ac" providerId="ADAL" clId="{179BC8E9-6240-4755-8B11-A9D10960E425}" dt="2021-04-19T16:58:52.844" v="836" actId="21"/>
          <ac:grpSpMkLst>
            <pc:docMk/>
            <pc:sldMk cId="3871888997" sldId="3209"/>
            <ac:grpSpMk id="24" creationId="{D7D613B9-7598-4BC6-B6C7-F0DD5A96BDAB}"/>
          </ac:grpSpMkLst>
        </pc:grpChg>
        <pc:graphicFrameChg chg="add mod modGraphic">
          <ac:chgData name="Deshpande, Mayuri (T RDA FOA PAE-US)" userId="307bd999-17dd-4997-b1e2-139127ad27ac" providerId="ADAL" clId="{179BC8E9-6240-4755-8B11-A9D10960E425}" dt="2021-04-19T17:14:07.289" v="965" actId="1076"/>
          <ac:graphicFrameMkLst>
            <pc:docMk/>
            <pc:sldMk cId="3871888997" sldId="3209"/>
            <ac:graphicFrameMk id="5" creationId="{C17C8711-8B15-444A-97B0-1D31FF54DCCC}"/>
          </ac:graphicFrameMkLst>
        </pc:graphicFrameChg>
        <pc:picChg chg="add del mod">
          <ac:chgData name="Deshpande, Mayuri (T RDA FOA PAE-US)" userId="307bd999-17dd-4997-b1e2-139127ad27ac" providerId="ADAL" clId="{179BC8E9-6240-4755-8B11-A9D10960E425}" dt="2021-04-19T16:47:13.153" v="586" actId="478"/>
          <ac:picMkLst>
            <pc:docMk/>
            <pc:sldMk cId="3871888997" sldId="3209"/>
            <ac:picMk id="7" creationId="{221A340A-E95A-4AF3-84D4-44D88F09339E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6:49:26.275" v="596" actId="478"/>
          <ac:picMkLst>
            <pc:docMk/>
            <pc:sldMk cId="3871888997" sldId="3209"/>
            <ac:picMk id="9" creationId="{44E5774E-9AAA-4CB5-AF79-2BE8B55BCC42}"/>
          </ac:picMkLst>
        </pc:picChg>
        <pc:picChg chg="add mod">
          <ac:chgData name="Deshpande, Mayuri (T RDA FOA PAE-US)" userId="307bd999-17dd-4997-b1e2-139127ad27ac" providerId="ADAL" clId="{179BC8E9-6240-4755-8B11-A9D10960E425}" dt="2021-04-19T17:14:07.289" v="965" actId="1076"/>
          <ac:picMkLst>
            <pc:docMk/>
            <pc:sldMk cId="3871888997" sldId="3209"/>
            <ac:picMk id="11" creationId="{F37DEBD0-1449-49C4-8519-04CEA26855E6}"/>
          </ac:picMkLst>
        </pc:picChg>
        <pc:picChg chg="add mod">
          <ac:chgData name="Deshpande, Mayuri (T RDA FOA PAE-US)" userId="307bd999-17dd-4997-b1e2-139127ad27ac" providerId="ADAL" clId="{179BC8E9-6240-4755-8B11-A9D10960E425}" dt="2021-04-19T17:14:07.289" v="965" actId="1076"/>
          <ac:picMkLst>
            <pc:docMk/>
            <pc:sldMk cId="3871888997" sldId="3209"/>
            <ac:picMk id="13" creationId="{8990166E-5DF2-4970-9D0D-B2C3B458F113}"/>
          </ac:picMkLst>
        </pc:picChg>
        <pc:picChg chg="mod topLvl">
          <ac:chgData name="Deshpande, Mayuri (T RDA FOA PAE-US)" userId="307bd999-17dd-4997-b1e2-139127ad27ac" providerId="ADAL" clId="{179BC8E9-6240-4755-8B11-A9D10960E425}" dt="2021-04-19T16:58:50.638" v="835" actId="165"/>
          <ac:picMkLst>
            <pc:docMk/>
            <pc:sldMk cId="3871888997" sldId="3209"/>
            <ac:picMk id="25" creationId="{FD53EBE1-0A25-40A9-94FE-14C02EF8846B}"/>
          </ac:picMkLst>
        </pc:picChg>
        <pc:picChg chg="add del mod">
          <ac:chgData name="Deshpande, Mayuri (T RDA FOA PAE-US)" userId="307bd999-17dd-4997-b1e2-139127ad27ac" providerId="ADAL" clId="{179BC8E9-6240-4755-8B11-A9D10960E425}" dt="2021-04-19T17:08:18.869" v="921" actId="478"/>
          <ac:picMkLst>
            <pc:docMk/>
            <pc:sldMk cId="3871888997" sldId="3209"/>
            <ac:picMk id="47" creationId="{0DDA1F01-D8F2-40AB-8D25-C154B18DA622}"/>
          </ac:picMkLst>
        </pc:picChg>
        <pc:picChg chg="add mod">
          <ac:chgData name="Deshpande, Mayuri (T RDA FOA PAE-US)" userId="307bd999-17dd-4997-b1e2-139127ad27ac" providerId="ADAL" clId="{179BC8E9-6240-4755-8B11-A9D10960E425}" dt="2021-04-19T17:14:07.289" v="965" actId="1076"/>
          <ac:picMkLst>
            <pc:docMk/>
            <pc:sldMk cId="3871888997" sldId="3209"/>
            <ac:picMk id="51" creationId="{D43BAAA6-8E27-4B92-B631-F3504E52F8A0}"/>
          </ac:picMkLst>
        </pc:picChg>
        <pc:cxnChg chg="add mod">
          <ac:chgData name="Deshpande, Mayuri (T RDA FOA PAE-US)" userId="307bd999-17dd-4997-b1e2-139127ad27ac" providerId="ADAL" clId="{179BC8E9-6240-4755-8B11-A9D10960E425}" dt="2021-04-19T17:14:07.289" v="965" actId="1076"/>
          <ac:cxnSpMkLst>
            <pc:docMk/>
            <pc:sldMk cId="3871888997" sldId="3209"/>
            <ac:cxnSpMk id="20" creationId="{593D42D6-B527-40EC-895E-26F5D9D73320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14:07.289" v="965" actId="1076"/>
          <ac:cxnSpMkLst>
            <pc:docMk/>
            <pc:sldMk cId="3871888997" sldId="3209"/>
            <ac:cxnSpMk id="21" creationId="{E8B9B0CA-EC50-4B28-A2BF-BBDD24766252}"/>
          </ac:cxnSpMkLst>
        </pc:cxnChg>
        <pc:cxnChg chg="mod topLvl">
          <ac:chgData name="Deshpande, Mayuri (T RDA FOA PAE-US)" userId="307bd999-17dd-4997-b1e2-139127ad27ac" providerId="ADAL" clId="{179BC8E9-6240-4755-8B11-A9D10960E425}" dt="2021-04-19T16:58:50.638" v="835" actId="165"/>
          <ac:cxnSpMkLst>
            <pc:docMk/>
            <pc:sldMk cId="3871888997" sldId="3209"/>
            <ac:cxnSpMk id="40" creationId="{3CE536AE-24C7-421C-B53E-1D1A33C7FB71}"/>
          </ac:cxnSpMkLst>
        </pc:cxnChg>
        <pc:cxnChg chg="add mod">
          <ac:chgData name="Deshpande, Mayuri (T RDA FOA PAE-US)" userId="307bd999-17dd-4997-b1e2-139127ad27ac" providerId="ADAL" clId="{179BC8E9-6240-4755-8B11-A9D10960E425}" dt="2021-04-19T17:14:07.289" v="965" actId="1076"/>
          <ac:cxnSpMkLst>
            <pc:docMk/>
            <pc:sldMk cId="3871888997" sldId="3209"/>
            <ac:cxnSpMk id="48" creationId="{11421676-4B11-4EC1-B0B4-27BB527B395C}"/>
          </ac:cxnSpMkLst>
        </pc:cxnChg>
      </pc:sldChg>
      <pc:sldChg chg="addSp delSp modSp new del mod">
        <pc:chgData name="Deshpande, Mayuri (T RDA FOA PAE-US)" userId="307bd999-17dd-4997-b1e2-139127ad27ac" providerId="ADAL" clId="{179BC8E9-6240-4755-8B11-A9D10960E425}" dt="2021-04-19T16:59:13.811" v="841" actId="47"/>
        <pc:sldMkLst>
          <pc:docMk/>
          <pc:sldMk cId="44217741" sldId="3210"/>
        </pc:sldMkLst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7" creationId="{09DAD04C-64E9-4CD1-A946-B79B2D06B8BF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8" creationId="{031B400A-7567-42C6-8D68-F6A27DE8848B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9" creationId="{7A79A967-F700-4EB3-A483-EE4B80103B6A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0" creationId="{9F005679-28E9-4F5A-8CB3-71EC6444D309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1" creationId="{551F7E33-EE75-48AD-9B4C-646A26E7A7B2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2" creationId="{F70BD2EC-5824-4061-9B1E-B6D06146972C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3" creationId="{DEB92835-EC08-4B69-8853-2B996124430E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4" creationId="{2FF582BA-EE75-4E0D-B0CA-9831418A6636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5" creationId="{4273C18E-B36D-4A1A-B254-4020F4D3870F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6" creationId="{B49D5C99-92C7-4361-AA80-6C0962ECE7A6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7" creationId="{AF35BC0C-39C8-4002-A302-0B058A094137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8" creationId="{D15DAE85-76B5-48FF-A072-065D72430225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19" creationId="{63ED2DB9-BB10-491F-9711-1EF0E27EF77A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20" creationId="{C0D8DA3A-5FD4-48CC-8B59-3D5FBA3EE8E1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22" creationId="{D52D647E-AFF8-43E1-A76D-34E25D0AE908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23" creationId="{3A1CA3FE-F023-4A58-AA02-BAEECD7BCF43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24" creationId="{529A9483-9905-4935-8DAD-71C223B3EC59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25" creationId="{0E6B3081-AB17-4634-BF2F-CC7266DEC339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26" creationId="{F89315EF-6CA3-4E29-A910-B6BB5DF73BAE}"/>
          </ac:spMkLst>
        </pc:spChg>
        <pc:spChg chg="mod topLvl">
          <ac:chgData name="Deshpande, Mayuri (T RDA FOA PAE-US)" userId="307bd999-17dd-4997-b1e2-139127ad27ac" providerId="ADAL" clId="{179BC8E9-6240-4755-8B11-A9D10960E425}" dt="2021-04-19T16:59:06.680" v="839" actId="165"/>
          <ac:spMkLst>
            <pc:docMk/>
            <pc:sldMk cId="44217741" sldId="3210"/>
            <ac:spMk id="27" creationId="{09D90DB9-E1F4-41A5-91D7-D598AD7061E7}"/>
          </ac:spMkLst>
        </pc:spChg>
        <pc:grpChg chg="add del mod">
          <ac:chgData name="Deshpande, Mayuri (T RDA FOA PAE-US)" userId="307bd999-17dd-4997-b1e2-139127ad27ac" providerId="ADAL" clId="{179BC8E9-6240-4755-8B11-A9D10960E425}" dt="2021-04-19T16:59:06.680" v="839" actId="165"/>
          <ac:grpSpMkLst>
            <pc:docMk/>
            <pc:sldMk cId="44217741" sldId="3210"/>
            <ac:grpSpMk id="5" creationId="{E00AE4F8-414D-4442-AB5D-45A6E833C5A3}"/>
          </ac:grpSpMkLst>
        </pc:grpChg>
        <pc:picChg chg="del mod topLvl">
          <ac:chgData name="Deshpande, Mayuri (T RDA FOA PAE-US)" userId="307bd999-17dd-4997-b1e2-139127ad27ac" providerId="ADAL" clId="{179BC8E9-6240-4755-8B11-A9D10960E425}" dt="2021-04-19T16:59:11.357" v="840" actId="21"/>
          <ac:picMkLst>
            <pc:docMk/>
            <pc:sldMk cId="44217741" sldId="3210"/>
            <ac:picMk id="6" creationId="{1ACF1DDA-ECDD-490B-A373-FF386501C2E8}"/>
          </ac:picMkLst>
        </pc:picChg>
        <pc:cxnChg chg="mod topLvl">
          <ac:chgData name="Deshpande, Mayuri (T RDA FOA PAE-US)" userId="307bd999-17dd-4997-b1e2-139127ad27ac" providerId="ADAL" clId="{179BC8E9-6240-4755-8B11-A9D10960E425}" dt="2021-04-19T16:59:06.680" v="839" actId="165"/>
          <ac:cxnSpMkLst>
            <pc:docMk/>
            <pc:sldMk cId="44217741" sldId="3210"/>
            <ac:cxnSpMk id="21" creationId="{DD76AD41-6A2C-4C22-9A26-00F7A34148CB}"/>
          </ac:cxnSpMkLst>
        </pc:cxnChg>
      </pc:sldChg>
      <pc:sldChg chg="addSp delSp modSp new mod">
        <pc:chgData name="Deshpande, Mayuri (T RDA FOA PAE-US)" userId="307bd999-17dd-4997-b1e2-139127ad27ac" providerId="ADAL" clId="{179BC8E9-6240-4755-8B11-A9D10960E425}" dt="2021-04-19T22:55:04.177" v="1554" actId="1076"/>
        <pc:sldMkLst>
          <pc:docMk/>
          <pc:sldMk cId="3487715147" sldId="3210"/>
        </pc:sldMkLst>
        <pc:spChg chg="mod">
          <ac:chgData name="Deshpande, Mayuri (T RDA FOA PAE-US)" userId="307bd999-17dd-4997-b1e2-139127ad27ac" providerId="ADAL" clId="{179BC8E9-6240-4755-8B11-A9D10960E425}" dt="2021-04-19T22:53:21.236" v="1543" actId="404"/>
          <ac:spMkLst>
            <pc:docMk/>
            <pc:sldMk cId="3487715147" sldId="3210"/>
            <ac:spMk id="2" creationId="{8E2BF9B7-323C-42FE-93BF-0E2720DD33C5}"/>
          </ac:spMkLst>
        </pc:spChg>
        <pc:spChg chg="mod">
          <ac:chgData name="Deshpande, Mayuri (T RDA FOA PAE-US)" userId="307bd999-17dd-4997-b1e2-139127ad27ac" providerId="ADAL" clId="{179BC8E9-6240-4755-8B11-A9D10960E425}" dt="2021-04-19T22:55:04.177" v="1554" actId="1076"/>
          <ac:spMkLst>
            <pc:docMk/>
            <pc:sldMk cId="3487715147" sldId="3210"/>
            <ac:spMk id="3" creationId="{2B3B19F2-C780-411A-A68B-A0ADFB258606}"/>
          </ac:spMkLst>
        </pc:spChg>
        <pc:spChg chg="mod">
          <ac:chgData name="Deshpande, Mayuri (T RDA FOA PAE-US)" userId="307bd999-17dd-4997-b1e2-139127ad27ac" providerId="ADAL" clId="{179BC8E9-6240-4755-8B11-A9D10960E425}" dt="2021-04-19T22:55:01.303" v="1553"/>
          <ac:spMkLst>
            <pc:docMk/>
            <pc:sldMk cId="3487715147" sldId="3210"/>
            <ac:spMk id="4" creationId="{9BD9B9A4-8A2C-4C4A-985B-CC7DC31A0B27}"/>
          </ac:spMkLst>
        </pc:spChg>
        <pc:spChg chg="add del mod">
          <ac:chgData name="Deshpande, Mayuri (T RDA FOA PAE-US)" userId="307bd999-17dd-4997-b1e2-139127ad27ac" providerId="ADAL" clId="{179BC8E9-6240-4755-8B11-A9D10960E425}" dt="2021-04-19T22:54:49.905" v="1552"/>
          <ac:spMkLst>
            <pc:docMk/>
            <pc:sldMk cId="3487715147" sldId="3210"/>
            <ac:spMk id="8" creationId="{91DA25BE-714D-4C1C-93A6-8E03195DC6F8}"/>
          </ac:spMkLst>
        </pc:spChg>
        <pc:picChg chg="add mod">
          <ac:chgData name="Deshpande, Mayuri (T RDA FOA PAE-US)" userId="307bd999-17dd-4997-b1e2-139127ad27ac" providerId="ADAL" clId="{179BC8E9-6240-4755-8B11-A9D10960E425}" dt="2021-04-19T22:53:37.332" v="1546" actId="1076"/>
          <ac:picMkLst>
            <pc:docMk/>
            <pc:sldMk cId="3487715147" sldId="3210"/>
            <ac:picMk id="6" creationId="{1F6FCC6E-6BB6-4EBA-87D0-7D1E804CB545}"/>
          </ac:picMkLst>
        </pc:picChg>
        <pc:picChg chg="add mod">
          <ac:chgData name="Deshpande, Mayuri (T RDA FOA PAE-US)" userId="307bd999-17dd-4997-b1e2-139127ad27ac" providerId="ADAL" clId="{179BC8E9-6240-4755-8B11-A9D10960E425}" dt="2021-04-19T22:53:37.332" v="1546" actId="1076"/>
          <ac:picMkLst>
            <pc:docMk/>
            <pc:sldMk cId="3487715147" sldId="3210"/>
            <ac:picMk id="7" creationId="{5BCA11A2-7014-4314-97F3-C30CF7DB1C45}"/>
          </ac:picMkLst>
        </pc:picChg>
      </pc:sldChg>
      <pc:sldChg chg="addSp modSp new mod">
        <pc:chgData name="Deshpande, Mayuri (T RDA FOA PAE-US)" userId="307bd999-17dd-4997-b1e2-139127ad27ac" providerId="ADAL" clId="{179BC8E9-6240-4755-8B11-A9D10960E425}" dt="2021-04-19T22:56:28.563" v="1573" actId="403"/>
        <pc:sldMkLst>
          <pc:docMk/>
          <pc:sldMk cId="3424085617" sldId="3211"/>
        </pc:sldMkLst>
        <pc:spChg chg="mod">
          <ac:chgData name="Deshpande, Mayuri (T RDA FOA PAE-US)" userId="307bd999-17dd-4997-b1e2-139127ad27ac" providerId="ADAL" clId="{179BC8E9-6240-4755-8B11-A9D10960E425}" dt="2021-04-19T22:56:28.563" v="1573" actId="403"/>
          <ac:spMkLst>
            <pc:docMk/>
            <pc:sldMk cId="3424085617" sldId="3211"/>
            <ac:spMk id="2" creationId="{302C565D-74A3-4A02-A33A-1494175AED90}"/>
          </ac:spMkLst>
        </pc:spChg>
        <pc:spChg chg="mod">
          <ac:chgData name="Deshpande, Mayuri (T RDA FOA PAE-US)" userId="307bd999-17dd-4997-b1e2-139127ad27ac" providerId="ADAL" clId="{179BC8E9-6240-4755-8B11-A9D10960E425}" dt="2021-04-19T22:55:57.464" v="1562" actId="20577"/>
          <ac:spMkLst>
            <pc:docMk/>
            <pc:sldMk cId="3424085617" sldId="3211"/>
            <ac:spMk id="3" creationId="{A8AE5143-385A-4B70-9BEB-5D1AA83F61E3}"/>
          </ac:spMkLst>
        </pc:spChg>
        <pc:spChg chg="mod">
          <ac:chgData name="Deshpande, Mayuri (T RDA FOA PAE-US)" userId="307bd999-17dd-4997-b1e2-139127ad27ac" providerId="ADAL" clId="{179BC8E9-6240-4755-8B11-A9D10960E425}" dt="2021-04-19T22:55:17.798" v="1556"/>
          <ac:spMkLst>
            <pc:docMk/>
            <pc:sldMk cId="3424085617" sldId="3211"/>
            <ac:spMk id="4" creationId="{C1572518-C787-4788-9D18-50ED953DDAF8}"/>
          </ac:spMkLst>
        </pc:spChg>
        <pc:spChg chg="add mod">
          <ac:chgData name="Deshpande, Mayuri (T RDA FOA PAE-US)" userId="307bd999-17dd-4997-b1e2-139127ad27ac" providerId="ADAL" clId="{179BC8E9-6240-4755-8B11-A9D10960E425}" dt="2021-04-19T22:55:31.825" v="1557"/>
          <ac:spMkLst>
            <pc:docMk/>
            <pc:sldMk cId="3424085617" sldId="3211"/>
            <ac:spMk id="9" creationId="{430FE2ED-B7AF-4337-AACC-7DF24AD5165B}"/>
          </ac:spMkLst>
        </pc:spChg>
        <pc:spChg chg="add mod">
          <ac:chgData name="Deshpande, Mayuri (T RDA FOA PAE-US)" userId="307bd999-17dd-4997-b1e2-139127ad27ac" providerId="ADAL" clId="{179BC8E9-6240-4755-8B11-A9D10960E425}" dt="2021-04-19T22:55:31.825" v="1557"/>
          <ac:spMkLst>
            <pc:docMk/>
            <pc:sldMk cId="3424085617" sldId="3211"/>
            <ac:spMk id="10" creationId="{1C937CC3-2AC2-4862-80DC-C0767801ED0C}"/>
          </ac:spMkLst>
        </pc:spChg>
        <pc:spChg chg="add mod">
          <ac:chgData name="Deshpande, Mayuri (T RDA FOA PAE-US)" userId="307bd999-17dd-4997-b1e2-139127ad27ac" providerId="ADAL" clId="{179BC8E9-6240-4755-8B11-A9D10960E425}" dt="2021-04-19T22:55:31.825" v="1557"/>
          <ac:spMkLst>
            <pc:docMk/>
            <pc:sldMk cId="3424085617" sldId="3211"/>
            <ac:spMk id="11" creationId="{2839E142-EEC0-4BC1-8DCF-9C6BECAE3944}"/>
          </ac:spMkLst>
        </pc:spChg>
        <pc:spChg chg="add mod">
          <ac:chgData name="Deshpande, Mayuri (T RDA FOA PAE-US)" userId="307bd999-17dd-4997-b1e2-139127ad27ac" providerId="ADAL" clId="{179BC8E9-6240-4755-8B11-A9D10960E425}" dt="2021-04-19T22:55:31.825" v="1557"/>
          <ac:spMkLst>
            <pc:docMk/>
            <pc:sldMk cId="3424085617" sldId="3211"/>
            <ac:spMk id="12" creationId="{595A7ABB-A503-494D-AA58-E0550DD1DAB0}"/>
          </ac:spMkLst>
        </pc:spChg>
        <pc:picChg chg="add mod">
          <ac:chgData name="Deshpande, Mayuri (T RDA FOA PAE-US)" userId="307bd999-17dd-4997-b1e2-139127ad27ac" providerId="ADAL" clId="{179BC8E9-6240-4755-8B11-A9D10960E425}" dt="2021-04-19T22:55:31.825" v="1557"/>
          <ac:picMkLst>
            <pc:docMk/>
            <pc:sldMk cId="3424085617" sldId="3211"/>
            <ac:picMk id="6" creationId="{F8DC5BA8-1EB3-42EB-B9FE-EB05D5676D12}"/>
          </ac:picMkLst>
        </pc:picChg>
        <pc:picChg chg="add mod">
          <ac:chgData name="Deshpande, Mayuri (T RDA FOA PAE-US)" userId="307bd999-17dd-4997-b1e2-139127ad27ac" providerId="ADAL" clId="{179BC8E9-6240-4755-8B11-A9D10960E425}" dt="2021-04-19T22:55:31.825" v="1557"/>
          <ac:picMkLst>
            <pc:docMk/>
            <pc:sldMk cId="3424085617" sldId="3211"/>
            <ac:picMk id="7" creationId="{85AFBA39-42D7-4FB0-B7EA-E67C1030C2FC}"/>
          </ac:picMkLst>
        </pc:picChg>
        <pc:picChg chg="add mod">
          <ac:chgData name="Deshpande, Mayuri (T RDA FOA PAE-US)" userId="307bd999-17dd-4997-b1e2-139127ad27ac" providerId="ADAL" clId="{179BC8E9-6240-4755-8B11-A9D10960E425}" dt="2021-04-19T22:55:31.825" v="1557"/>
          <ac:picMkLst>
            <pc:docMk/>
            <pc:sldMk cId="3424085617" sldId="3211"/>
            <ac:picMk id="8" creationId="{DDEC9586-6D11-4289-B9DE-C0165660F03A}"/>
          </ac:picMkLst>
        </pc:picChg>
        <pc:picChg chg="add mod">
          <ac:chgData name="Deshpande, Mayuri (T RDA FOA PAE-US)" userId="307bd999-17dd-4997-b1e2-139127ad27ac" providerId="ADAL" clId="{179BC8E9-6240-4755-8B11-A9D10960E425}" dt="2021-04-19T22:55:31.825" v="1557"/>
          <ac:picMkLst>
            <pc:docMk/>
            <pc:sldMk cId="3424085617" sldId="3211"/>
            <ac:picMk id="13" creationId="{04C17163-4F08-478E-87D1-359D153A1C81}"/>
          </ac:picMkLst>
        </pc:picChg>
      </pc:sldChg>
      <pc:sldChg chg="addSp modSp new mod ord">
        <pc:chgData name="Deshpande, Mayuri (T RDA FOA PAE-US)" userId="307bd999-17dd-4997-b1e2-139127ad27ac" providerId="ADAL" clId="{179BC8E9-6240-4755-8B11-A9D10960E425}" dt="2021-04-19T22:58:02.889" v="1588"/>
        <pc:sldMkLst>
          <pc:docMk/>
          <pc:sldMk cId="241235120" sldId="3212"/>
        </pc:sldMkLst>
        <pc:spChg chg="mod">
          <ac:chgData name="Deshpande, Mayuri (T RDA FOA PAE-US)" userId="307bd999-17dd-4997-b1e2-139127ad27ac" providerId="ADAL" clId="{179BC8E9-6240-4755-8B11-A9D10960E425}" dt="2021-04-19T22:57:29.114" v="1585" actId="404"/>
          <ac:spMkLst>
            <pc:docMk/>
            <pc:sldMk cId="241235120" sldId="3212"/>
            <ac:spMk id="2" creationId="{1CA711DB-2863-443E-A3B2-FC412F889DA0}"/>
          </ac:spMkLst>
        </pc:spChg>
        <pc:spChg chg="mod">
          <ac:chgData name="Deshpande, Mayuri (T RDA FOA PAE-US)" userId="307bd999-17dd-4997-b1e2-139127ad27ac" providerId="ADAL" clId="{179BC8E9-6240-4755-8B11-A9D10960E425}" dt="2021-04-19T22:57:52.161" v="1587"/>
          <ac:spMkLst>
            <pc:docMk/>
            <pc:sldMk cId="241235120" sldId="3212"/>
            <ac:spMk id="3" creationId="{73BCE94B-A9B8-49C0-A1E6-DC694B5963A2}"/>
          </ac:spMkLst>
        </pc:spChg>
        <pc:spChg chg="mod">
          <ac:chgData name="Deshpande, Mayuri (T RDA FOA PAE-US)" userId="307bd999-17dd-4997-b1e2-139127ad27ac" providerId="ADAL" clId="{179BC8E9-6240-4755-8B11-A9D10960E425}" dt="2021-04-19T22:58:02.889" v="1588"/>
          <ac:spMkLst>
            <pc:docMk/>
            <pc:sldMk cId="241235120" sldId="3212"/>
            <ac:spMk id="4" creationId="{ECF2F4C7-2532-4153-A644-6BED869AEABE}"/>
          </ac:spMkLst>
        </pc:spChg>
        <pc:spChg chg="add mod">
          <ac:chgData name="Deshpande, Mayuri (T RDA FOA PAE-US)" userId="307bd999-17dd-4997-b1e2-139127ad27ac" providerId="ADAL" clId="{179BC8E9-6240-4755-8B11-A9D10960E425}" dt="2021-04-19T22:57:44.148" v="1586"/>
          <ac:spMkLst>
            <pc:docMk/>
            <pc:sldMk cId="241235120" sldId="3212"/>
            <ac:spMk id="10" creationId="{CDBB6E65-023B-4F44-9B24-FD378C61F41D}"/>
          </ac:spMkLst>
        </pc:spChg>
        <pc:spChg chg="add mod">
          <ac:chgData name="Deshpande, Mayuri (T RDA FOA PAE-US)" userId="307bd999-17dd-4997-b1e2-139127ad27ac" providerId="ADAL" clId="{179BC8E9-6240-4755-8B11-A9D10960E425}" dt="2021-04-19T22:57:44.148" v="1586"/>
          <ac:spMkLst>
            <pc:docMk/>
            <pc:sldMk cId="241235120" sldId="3212"/>
            <ac:spMk id="11" creationId="{4AE92027-2837-4A75-ADE9-C70A74753525}"/>
          </ac:spMkLst>
        </pc:spChg>
        <pc:spChg chg="add mod">
          <ac:chgData name="Deshpande, Mayuri (T RDA FOA PAE-US)" userId="307bd999-17dd-4997-b1e2-139127ad27ac" providerId="ADAL" clId="{179BC8E9-6240-4755-8B11-A9D10960E425}" dt="2021-04-19T22:57:44.148" v="1586"/>
          <ac:spMkLst>
            <pc:docMk/>
            <pc:sldMk cId="241235120" sldId="3212"/>
            <ac:spMk id="12" creationId="{0ADD5347-872C-4A58-9EF9-AB2B3BCEDF55}"/>
          </ac:spMkLst>
        </pc:spChg>
        <pc:spChg chg="add mod">
          <ac:chgData name="Deshpande, Mayuri (T RDA FOA PAE-US)" userId="307bd999-17dd-4997-b1e2-139127ad27ac" providerId="ADAL" clId="{179BC8E9-6240-4755-8B11-A9D10960E425}" dt="2021-04-19T22:57:44.148" v="1586"/>
          <ac:spMkLst>
            <pc:docMk/>
            <pc:sldMk cId="241235120" sldId="3212"/>
            <ac:spMk id="13" creationId="{DFF56BB6-6EE2-40B5-8499-094AA2D9C439}"/>
          </ac:spMkLst>
        </pc:spChg>
        <pc:picChg chg="add mod">
          <ac:chgData name="Deshpande, Mayuri (T RDA FOA PAE-US)" userId="307bd999-17dd-4997-b1e2-139127ad27ac" providerId="ADAL" clId="{179BC8E9-6240-4755-8B11-A9D10960E425}" dt="2021-04-19T22:57:44.148" v="1586"/>
          <ac:picMkLst>
            <pc:docMk/>
            <pc:sldMk cId="241235120" sldId="3212"/>
            <ac:picMk id="6" creationId="{99CD3E46-4AEA-4E50-A698-73795858A1B1}"/>
          </ac:picMkLst>
        </pc:picChg>
        <pc:picChg chg="add mod">
          <ac:chgData name="Deshpande, Mayuri (T RDA FOA PAE-US)" userId="307bd999-17dd-4997-b1e2-139127ad27ac" providerId="ADAL" clId="{179BC8E9-6240-4755-8B11-A9D10960E425}" dt="2021-04-19T22:57:44.148" v="1586"/>
          <ac:picMkLst>
            <pc:docMk/>
            <pc:sldMk cId="241235120" sldId="3212"/>
            <ac:picMk id="7" creationId="{0FF76ACA-50B4-4183-893E-D5EF20ACAA01}"/>
          </ac:picMkLst>
        </pc:picChg>
        <pc:picChg chg="add mod">
          <ac:chgData name="Deshpande, Mayuri (T RDA FOA PAE-US)" userId="307bd999-17dd-4997-b1e2-139127ad27ac" providerId="ADAL" clId="{179BC8E9-6240-4755-8B11-A9D10960E425}" dt="2021-04-19T22:57:44.148" v="1586"/>
          <ac:picMkLst>
            <pc:docMk/>
            <pc:sldMk cId="241235120" sldId="3212"/>
            <ac:picMk id="8" creationId="{AE9A5576-38C1-4373-A669-FA1929DFF22F}"/>
          </ac:picMkLst>
        </pc:picChg>
        <pc:picChg chg="add mod">
          <ac:chgData name="Deshpande, Mayuri (T RDA FOA PAE-US)" userId="307bd999-17dd-4997-b1e2-139127ad27ac" providerId="ADAL" clId="{179BC8E9-6240-4755-8B11-A9D10960E425}" dt="2021-04-19T22:57:44.148" v="1586"/>
          <ac:picMkLst>
            <pc:docMk/>
            <pc:sldMk cId="241235120" sldId="3212"/>
            <ac:picMk id="9" creationId="{65AC410F-E691-4836-9077-CACD94BCDAED}"/>
          </ac:picMkLst>
        </pc:picChg>
      </pc:sldChg>
      <pc:sldChg chg="new del">
        <pc:chgData name="Deshpande, Mayuri (T RDA FOA PAE-US)" userId="307bd999-17dd-4997-b1e2-139127ad27ac" providerId="ADAL" clId="{179BC8E9-6240-4755-8B11-A9D10960E425}" dt="2021-04-19T22:57:10.191" v="1577" actId="47"/>
        <pc:sldMkLst>
          <pc:docMk/>
          <pc:sldMk cId="4255905587" sldId="3212"/>
        </pc:sldMkLst>
      </pc:sldChg>
      <pc:sldChg chg="addSp modSp new mod ord">
        <pc:chgData name="Deshpande, Mayuri (T RDA FOA PAE-US)" userId="307bd999-17dd-4997-b1e2-139127ad27ac" providerId="ADAL" clId="{179BC8E9-6240-4755-8B11-A9D10960E425}" dt="2021-04-19T23:03:15.667" v="1711" actId="20577"/>
        <pc:sldMkLst>
          <pc:docMk/>
          <pc:sldMk cId="4279896161" sldId="3213"/>
        </pc:sldMkLst>
        <pc:spChg chg="mod">
          <ac:chgData name="Deshpande, Mayuri (T RDA FOA PAE-US)" userId="307bd999-17dd-4997-b1e2-139127ad27ac" providerId="ADAL" clId="{179BC8E9-6240-4755-8B11-A9D10960E425}" dt="2021-04-19T22:59:05.998" v="1593"/>
          <ac:spMkLst>
            <pc:docMk/>
            <pc:sldMk cId="4279896161" sldId="3213"/>
            <ac:spMk id="2" creationId="{94423ED4-E3BE-4AA8-B544-FE74991A0176}"/>
          </ac:spMkLst>
        </pc:spChg>
        <pc:spChg chg="mod">
          <ac:chgData name="Deshpande, Mayuri (T RDA FOA PAE-US)" userId="307bd999-17dd-4997-b1e2-139127ad27ac" providerId="ADAL" clId="{179BC8E9-6240-4755-8B11-A9D10960E425}" dt="2021-04-19T23:03:15.667" v="1711" actId="20577"/>
          <ac:spMkLst>
            <pc:docMk/>
            <pc:sldMk cId="4279896161" sldId="3213"/>
            <ac:spMk id="3" creationId="{214DD7A5-C3A5-46D6-B47C-F1027CA4C803}"/>
          </ac:spMkLst>
        </pc:spChg>
        <pc:spChg chg="mod">
          <ac:chgData name="Deshpande, Mayuri (T RDA FOA PAE-US)" userId="307bd999-17dd-4997-b1e2-139127ad27ac" providerId="ADAL" clId="{179BC8E9-6240-4755-8B11-A9D10960E425}" dt="2021-04-19T23:00:09.305" v="1602"/>
          <ac:spMkLst>
            <pc:docMk/>
            <pc:sldMk cId="4279896161" sldId="3213"/>
            <ac:spMk id="9" creationId="{D769C2AC-9FAE-42B5-9739-9836EE9CFECD}"/>
          </ac:spMkLst>
        </pc:spChg>
        <pc:spChg chg="mod">
          <ac:chgData name="Deshpande, Mayuri (T RDA FOA PAE-US)" userId="307bd999-17dd-4997-b1e2-139127ad27ac" providerId="ADAL" clId="{179BC8E9-6240-4755-8B11-A9D10960E425}" dt="2021-04-19T23:00:09.305" v="1602"/>
          <ac:spMkLst>
            <pc:docMk/>
            <pc:sldMk cId="4279896161" sldId="3213"/>
            <ac:spMk id="10" creationId="{B86ECE04-FE8C-4909-9DCD-BD4D20D014F9}"/>
          </ac:spMkLst>
        </pc:spChg>
        <pc:spChg chg="mod">
          <ac:chgData name="Deshpande, Mayuri (T RDA FOA PAE-US)" userId="307bd999-17dd-4997-b1e2-139127ad27ac" providerId="ADAL" clId="{179BC8E9-6240-4755-8B11-A9D10960E425}" dt="2021-04-19T23:00:09.305" v="1602"/>
          <ac:spMkLst>
            <pc:docMk/>
            <pc:sldMk cId="4279896161" sldId="3213"/>
            <ac:spMk id="11" creationId="{BB314366-EE49-45CB-866E-432BA473612A}"/>
          </ac:spMkLst>
        </pc:spChg>
        <pc:spChg chg="mod">
          <ac:chgData name="Deshpande, Mayuri (T RDA FOA PAE-US)" userId="307bd999-17dd-4997-b1e2-139127ad27ac" providerId="ADAL" clId="{179BC8E9-6240-4755-8B11-A9D10960E425}" dt="2021-04-19T23:00:09.305" v="1602"/>
          <ac:spMkLst>
            <pc:docMk/>
            <pc:sldMk cId="4279896161" sldId="3213"/>
            <ac:spMk id="13" creationId="{65274272-1186-4957-90AB-0D323EEBDCA8}"/>
          </ac:spMkLst>
        </pc:spChg>
        <pc:spChg chg="mod">
          <ac:chgData name="Deshpande, Mayuri (T RDA FOA PAE-US)" userId="307bd999-17dd-4997-b1e2-139127ad27ac" providerId="ADAL" clId="{179BC8E9-6240-4755-8B11-A9D10960E425}" dt="2021-04-19T23:00:09.305" v="1602"/>
          <ac:spMkLst>
            <pc:docMk/>
            <pc:sldMk cId="4279896161" sldId="3213"/>
            <ac:spMk id="14" creationId="{53CEE62D-C060-4B7B-AF0C-FC1A2EE0E883}"/>
          </ac:spMkLst>
        </pc:spChg>
        <pc:spChg chg="mod">
          <ac:chgData name="Deshpande, Mayuri (T RDA FOA PAE-US)" userId="307bd999-17dd-4997-b1e2-139127ad27ac" providerId="ADAL" clId="{179BC8E9-6240-4755-8B11-A9D10960E425}" dt="2021-04-19T23:00:09.305" v="1602"/>
          <ac:spMkLst>
            <pc:docMk/>
            <pc:sldMk cId="4279896161" sldId="3213"/>
            <ac:spMk id="15" creationId="{5E782F1A-5B78-46A1-9112-710846D5D17B}"/>
          </ac:spMkLst>
        </pc:spChg>
        <pc:spChg chg="mod">
          <ac:chgData name="Deshpande, Mayuri (T RDA FOA PAE-US)" userId="307bd999-17dd-4997-b1e2-139127ad27ac" providerId="ADAL" clId="{179BC8E9-6240-4755-8B11-A9D10960E425}" dt="2021-04-19T23:00:09.305" v="1602"/>
          <ac:spMkLst>
            <pc:docMk/>
            <pc:sldMk cId="4279896161" sldId="3213"/>
            <ac:spMk id="16" creationId="{E0D394FF-3CD6-49DB-9876-775AA6781E26}"/>
          </ac:spMkLst>
        </pc:spChg>
        <pc:spChg chg="mod">
          <ac:chgData name="Deshpande, Mayuri (T RDA FOA PAE-US)" userId="307bd999-17dd-4997-b1e2-139127ad27ac" providerId="ADAL" clId="{179BC8E9-6240-4755-8B11-A9D10960E425}" dt="2021-04-19T23:00:09.305" v="1602"/>
          <ac:spMkLst>
            <pc:docMk/>
            <pc:sldMk cId="4279896161" sldId="3213"/>
            <ac:spMk id="17" creationId="{F236BB94-DD75-4124-8225-927C99FFDEF5}"/>
          </ac:spMkLst>
        </pc:spChg>
        <pc:spChg chg="mod">
          <ac:chgData name="Deshpande, Mayuri (T RDA FOA PAE-US)" userId="307bd999-17dd-4997-b1e2-139127ad27ac" providerId="ADAL" clId="{179BC8E9-6240-4755-8B11-A9D10960E425}" dt="2021-04-19T23:00:09.305" v="1602"/>
          <ac:spMkLst>
            <pc:docMk/>
            <pc:sldMk cId="4279896161" sldId="3213"/>
            <ac:spMk id="18" creationId="{0C0429E5-C135-4320-BAE3-9ECB3BB5C0B1}"/>
          </ac:spMkLst>
        </pc:spChg>
        <pc:grpChg chg="add mod">
          <ac:chgData name="Deshpande, Mayuri (T RDA FOA PAE-US)" userId="307bd999-17dd-4997-b1e2-139127ad27ac" providerId="ADAL" clId="{179BC8E9-6240-4755-8B11-A9D10960E425}" dt="2021-04-19T23:00:17.220" v="1603" actId="1076"/>
          <ac:grpSpMkLst>
            <pc:docMk/>
            <pc:sldMk cId="4279896161" sldId="3213"/>
            <ac:grpSpMk id="7" creationId="{141BEA70-EA22-48A1-B141-1E9968E65941}"/>
          </ac:grpSpMkLst>
        </pc:grpChg>
        <pc:grpChg chg="mod">
          <ac:chgData name="Deshpande, Mayuri (T RDA FOA PAE-US)" userId="307bd999-17dd-4997-b1e2-139127ad27ac" providerId="ADAL" clId="{179BC8E9-6240-4755-8B11-A9D10960E425}" dt="2021-04-19T23:00:09.305" v="1602"/>
          <ac:grpSpMkLst>
            <pc:docMk/>
            <pc:sldMk cId="4279896161" sldId="3213"/>
            <ac:grpSpMk id="8" creationId="{618819C4-5FDC-48D8-B8E1-B206CB253A13}"/>
          </ac:grpSpMkLst>
        </pc:grpChg>
        <pc:grpChg chg="mod">
          <ac:chgData name="Deshpande, Mayuri (T RDA FOA PAE-US)" userId="307bd999-17dd-4997-b1e2-139127ad27ac" providerId="ADAL" clId="{179BC8E9-6240-4755-8B11-A9D10960E425}" dt="2021-04-19T23:00:09.305" v="1602"/>
          <ac:grpSpMkLst>
            <pc:docMk/>
            <pc:sldMk cId="4279896161" sldId="3213"/>
            <ac:grpSpMk id="12" creationId="{6D93CA09-8938-4AC5-93A6-7BF5F7171E17}"/>
          </ac:grpSpMkLst>
        </pc:grpChg>
        <pc:picChg chg="add mod">
          <ac:chgData name="Deshpande, Mayuri (T RDA FOA PAE-US)" userId="307bd999-17dd-4997-b1e2-139127ad27ac" providerId="ADAL" clId="{179BC8E9-6240-4755-8B11-A9D10960E425}" dt="2021-04-19T23:00:24.663" v="1605" actId="1076"/>
          <ac:picMkLst>
            <pc:docMk/>
            <pc:sldMk cId="4279896161" sldId="3213"/>
            <ac:picMk id="6" creationId="{C82C48A6-E29C-4320-AC50-D93BCB38ADEA}"/>
          </ac:picMkLst>
        </pc:picChg>
        <pc:cxnChg chg="mod">
          <ac:chgData name="Deshpande, Mayuri (T RDA FOA PAE-US)" userId="307bd999-17dd-4997-b1e2-139127ad27ac" providerId="ADAL" clId="{179BC8E9-6240-4755-8B11-A9D10960E425}" dt="2021-04-19T23:00:09.305" v="1602"/>
          <ac:cxnSpMkLst>
            <pc:docMk/>
            <pc:sldMk cId="4279896161" sldId="3213"/>
            <ac:cxnSpMk id="19" creationId="{6DBAD061-0EC4-4A47-81EA-D2164873ED0B}"/>
          </ac:cxnSpMkLst>
        </pc:cxnChg>
        <pc:cxnChg chg="mod">
          <ac:chgData name="Deshpande, Mayuri (T RDA FOA PAE-US)" userId="307bd999-17dd-4997-b1e2-139127ad27ac" providerId="ADAL" clId="{179BC8E9-6240-4755-8B11-A9D10960E425}" dt="2021-04-19T23:00:09.305" v="1602"/>
          <ac:cxnSpMkLst>
            <pc:docMk/>
            <pc:sldMk cId="4279896161" sldId="3213"/>
            <ac:cxnSpMk id="20" creationId="{AFDF5A89-081B-42B6-A855-FFC59C1DF6D1}"/>
          </ac:cxnSpMkLst>
        </pc:cxnChg>
        <pc:cxnChg chg="mod">
          <ac:chgData name="Deshpande, Mayuri (T RDA FOA PAE-US)" userId="307bd999-17dd-4997-b1e2-139127ad27ac" providerId="ADAL" clId="{179BC8E9-6240-4755-8B11-A9D10960E425}" dt="2021-04-19T23:00:09.305" v="1602"/>
          <ac:cxnSpMkLst>
            <pc:docMk/>
            <pc:sldMk cId="4279896161" sldId="3213"/>
            <ac:cxnSpMk id="21" creationId="{8DC917E6-468E-4876-A7CB-20D65DBD9116}"/>
          </ac:cxnSpMkLst>
        </pc:cxnChg>
        <pc:cxnChg chg="mod">
          <ac:chgData name="Deshpande, Mayuri (T RDA FOA PAE-US)" userId="307bd999-17dd-4997-b1e2-139127ad27ac" providerId="ADAL" clId="{179BC8E9-6240-4755-8B11-A9D10960E425}" dt="2021-04-19T23:00:09.305" v="1602"/>
          <ac:cxnSpMkLst>
            <pc:docMk/>
            <pc:sldMk cId="4279896161" sldId="3213"/>
            <ac:cxnSpMk id="22" creationId="{9D3B972F-5C9C-4BB4-9500-1354878841B7}"/>
          </ac:cxnSpMkLst>
        </pc:cxnChg>
        <pc:cxnChg chg="mod">
          <ac:chgData name="Deshpande, Mayuri (T RDA FOA PAE-US)" userId="307bd999-17dd-4997-b1e2-139127ad27ac" providerId="ADAL" clId="{179BC8E9-6240-4755-8B11-A9D10960E425}" dt="2021-04-19T23:00:09.305" v="1602"/>
          <ac:cxnSpMkLst>
            <pc:docMk/>
            <pc:sldMk cId="4279896161" sldId="3213"/>
            <ac:cxnSpMk id="23" creationId="{A33E3442-DDFE-4B1E-AA3D-91410D59E03E}"/>
          </ac:cxnSpMkLst>
        </pc:cxnChg>
        <pc:cxnChg chg="mod">
          <ac:chgData name="Deshpande, Mayuri (T RDA FOA PAE-US)" userId="307bd999-17dd-4997-b1e2-139127ad27ac" providerId="ADAL" clId="{179BC8E9-6240-4755-8B11-A9D10960E425}" dt="2021-04-19T23:00:09.305" v="1602"/>
          <ac:cxnSpMkLst>
            <pc:docMk/>
            <pc:sldMk cId="4279896161" sldId="3213"/>
            <ac:cxnSpMk id="24" creationId="{9CF1CE20-B16D-4328-A1DF-A7FB2E2BD5DA}"/>
          </ac:cxnSpMkLst>
        </pc:cxnChg>
        <pc:cxnChg chg="mod">
          <ac:chgData name="Deshpande, Mayuri (T RDA FOA PAE-US)" userId="307bd999-17dd-4997-b1e2-139127ad27ac" providerId="ADAL" clId="{179BC8E9-6240-4755-8B11-A9D10960E425}" dt="2021-04-19T23:00:09.305" v="1602"/>
          <ac:cxnSpMkLst>
            <pc:docMk/>
            <pc:sldMk cId="4279896161" sldId="3213"/>
            <ac:cxnSpMk id="25" creationId="{5E44C0B3-E5BF-4462-AEC2-5DA83E5F3398}"/>
          </ac:cxnSpMkLst>
        </pc:cxnChg>
        <pc:cxnChg chg="mod">
          <ac:chgData name="Deshpande, Mayuri (T RDA FOA PAE-US)" userId="307bd999-17dd-4997-b1e2-139127ad27ac" providerId="ADAL" clId="{179BC8E9-6240-4755-8B11-A9D10960E425}" dt="2021-04-19T23:00:09.305" v="1602"/>
          <ac:cxnSpMkLst>
            <pc:docMk/>
            <pc:sldMk cId="4279896161" sldId="3213"/>
            <ac:cxnSpMk id="26" creationId="{0C9155CB-6AA2-4489-B450-90D9BCB80930}"/>
          </ac:cxnSpMkLst>
        </pc:cxnChg>
      </pc:sldChg>
      <pc:sldChg chg="addSp modSp new">
        <pc:chgData name="Deshpande, Mayuri (T RDA FOA PAE-US)" userId="307bd999-17dd-4997-b1e2-139127ad27ac" providerId="ADAL" clId="{179BC8E9-6240-4755-8B11-A9D10960E425}" dt="2021-04-20T10:59:32.074" v="1782"/>
        <pc:sldMkLst>
          <pc:docMk/>
          <pc:sldMk cId="313039052" sldId="3214"/>
        </pc:sldMkLst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8" creationId="{4326E8D6-5445-4B59-9732-62815640CAC6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9" creationId="{3A06AC17-30F5-4831-9CB2-0835DA56ABC0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0" creationId="{2517AD76-129D-4136-B51C-092B732FBA3C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1" creationId="{8F4F2F96-1929-42B1-8B3D-FB32D7BBC1A4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2" creationId="{ECE2D779-A71E-4B46-82EC-0CA68A23D0B1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3" creationId="{F4CD5D0B-58D8-4A4C-B09E-A29F6A3ECAAA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4" creationId="{F4969983-4F13-4BC9-B5E4-AAC6CE76FE06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5" creationId="{120FC0EC-C6D1-462A-A607-872944F494CB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6" creationId="{C641FD04-0B80-40CC-83C4-92F81BD42A5B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7" creationId="{9C1A4062-FF41-4809-ADE8-324C275E2453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8" creationId="{05B9B595-5002-495F-8800-AB5B57C6010A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19" creationId="{FC8A4396-FE39-4796-BF6F-4538A86912D5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20" creationId="{DE0C89F1-6ECE-4BD5-80D1-B7C1A61F3B54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21" creationId="{34C6BF86-97F4-4583-824D-A7B4954405AE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23" creationId="{B438DBAA-B5E4-41DE-806C-E436A59159E4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24" creationId="{42CC3E92-6EA7-4BD7-A9E1-22F6577347BF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25" creationId="{DCC992B1-3892-4627-A332-BF3FE4D9FD6B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26" creationId="{63B00370-DA4A-4F24-9BCB-51A8D50A370F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27" creationId="{32AAE289-C906-4975-9544-9F4798C0DE6B}"/>
          </ac:spMkLst>
        </pc:spChg>
        <pc:spChg chg="mod">
          <ac:chgData name="Deshpande, Mayuri (T RDA FOA PAE-US)" userId="307bd999-17dd-4997-b1e2-139127ad27ac" providerId="ADAL" clId="{179BC8E9-6240-4755-8B11-A9D10960E425}" dt="2021-04-20T10:59:32.074" v="1782"/>
          <ac:spMkLst>
            <pc:docMk/>
            <pc:sldMk cId="313039052" sldId="3214"/>
            <ac:spMk id="28" creationId="{2925E258-3AFD-41DC-9FA0-4D477E42D50D}"/>
          </ac:spMkLst>
        </pc:spChg>
        <pc:grpChg chg="add mod">
          <ac:chgData name="Deshpande, Mayuri (T RDA FOA PAE-US)" userId="307bd999-17dd-4997-b1e2-139127ad27ac" providerId="ADAL" clId="{179BC8E9-6240-4755-8B11-A9D10960E425}" dt="2021-04-20T10:59:32.074" v="1782"/>
          <ac:grpSpMkLst>
            <pc:docMk/>
            <pc:sldMk cId="313039052" sldId="3214"/>
            <ac:grpSpMk id="6" creationId="{ED436CB9-072A-4156-B145-BE5D834DD17F}"/>
          </ac:grpSpMkLst>
        </pc:grpChg>
        <pc:picChg chg="mod">
          <ac:chgData name="Deshpande, Mayuri (T RDA FOA PAE-US)" userId="307bd999-17dd-4997-b1e2-139127ad27ac" providerId="ADAL" clId="{179BC8E9-6240-4755-8B11-A9D10960E425}" dt="2021-04-20T10:59:32.074" v="1782"/>
          <ac:picMkLst>
            <pc:docMk/>
            <pc:sldMk cId="313039052" sldId="3214"/>
            <ac:picMk id="7" creationId="{9C69A3C2-DDBD-417C-9E49-B42933B0E593}"/>
          </ac:picMkLst>
        </pc:picChg>
        <pc:cxnChg chg="mod">
          <ac:chgData name="Deshpande, Mayuri (T RDA FOA PAE-US)" userId="307bd999-17dd-4997-b1e2-139127ad27ac" providerId="ADAL" clId="{179BC8E9-6240-4755-8B11-A9D10960E425}" dt="2021-04-20T10:59:32.074" v="1782"/>
          <ac:cxnSpMkLst>
            <pc:docMk/>
            <pc:sldMk cId="313039052" sldId="3214"/>
            <ac:cxnSpMk id="22" creationId="{4312AD13-D52E-4E39-9CA4-1A9F318487FB}"/>
          </ac:cxnSpMkLst>
        </pc:cxnChg>
      </pc:sldChg>
      <pc:sldChg chg="addSp modSp new modAnim">
        <pc:chgData name="Deshpande, Mayuri (T RDA FOA PAE-US)" userId="307bd999-17dd-4997-b1e2-139127ad27ac" providerId="ADAL" clId="{179BC8E9-6240-4755-8B11-A9D10960E425}" dt="2021-04-20T10:59:48.690" v="1785"/>
        <pc:sldMkLst>
          <pc:docMk/>
          <pc:sldMk cId="4201953570" sldId="3215"/>
        </pc:sldMkLst>
        <pc:picChg chg="add mod">
          <ac:chgData name="Deshpande, Mayuri (T RDA FOA PAE-US)" userId="307bd999-17dd-4997-b1e2-139127ad27ac" providerId="ADAL" clId="{179BC8E9-6240-4755-8B11-A9D10960E425}" dt="2021-04-20T10:59:48.690" v="1785"/>
          <ac:picMkLst>
            <pc:docMk/>
            <pc:sldMk cId="4201953570" sldId="3215"/>
            <ac:picMk id="6" creationId="{8751ACDA-2502-443C-B910-969E62532ECE}"/>
          </ac:picMkLst>
        </pc:picChg>
      </pc:sldChg>
      <pc:sldChg chg="addSp modSp new modAnim">
        <pc:chgData name="Deshpande, Mayuri (T RDA FOA PAE-US)" userId="307bd999-17dd-4997-b1e2-139127ad27ac" providerId="ADAL" clId="{179BC8E9-6240-4755-8B11-A9D10960E425}" dt="2021-04-20T11:00:02.857" v="1788"/>
        <pc:sldMkLst>
          <pc:docMk/>
          <pc:sldMk cId="1387550153" sldId="3216"/>
        </pc:sldMkLst>
        <pc:picChg chg="add mod">
          <ac:chgData name="Deshpande, Mayuri (T RDA FOA PAE-US)" userId="307bd999-17dd-4997-b1e2-139127ad27ac" providerId="ADAL" clId="{179BC8E9-6240-4755-8B11-A9D10960E425}" dt="2021-04-20T11:00:02.857" v="1788"/>
          <ac:picMkLst>
            <pc:docMk/>
            <pc:sldMk cId="1387550153" sldId="3216"/>
            <ac:picMk id="6" creationId="{D803C8B9-418F-4A8A-ACA6-AC5F037B15C2}"/>
          </ac:picMkLst>
        </pc:picChg>
      </pc:sldChg>
      <pc:sldChg chg="addSp delSp modSp new mod">
        <pc:chgData name="Deshpande, Mayuri (T RDA FOA PAE-US)" userId="307bd999-17dd-4997-b1e2-139127ad27ac" providerId="ADAL" clId="{179BC8E9-6240-4755-8B11-A9D10960E425}" dt="2021-04-28T01:13:20.527" v="1902" actId="164"/>
        <pc:sldMkLst>
          <pc:docMk/>
          <pc:sldMk cId="2899417767" sldId="3217"/>
        </pc:sldMkLst>
        <pc:grpChg chg="add mod">
          <ac:chgData name="Deshpande, Mayuri (T RDA FOA PAE-US)" userId="307bd999-17dd-4997-b1e2-139127ad27ac" providerId="ADAL" clId="{179BC8E9-6240-4755-8B11-A9D10960E425}" dt="2021-04-28T01:13:20.527" v="1902" actId="164"/>
          <ac:grpSpMkLst>
            <pc:docMk/>
            <pc:sldMk cId="2899417767" sldId="3217"/>
            <ac:grpSpMk id="5" creationId="{97E7E881-3F7E-4CC7-86B3-935FAF0124D9}"/>
          </ac:grpSpMkLst>
        </pc:grpChg>
        <pc:grpChg chg="add mod">
          <ac:chgData name="Deshpande, Mayuri (T RDA FOA PAE-US)" userId="307bd999-17dd-4997-b1e2-139127ad27ac" providerId="ADAL" clId="{179BC8E9-6240-4755-8B11-A9D10960E425}" dt="2021-04-28T01:13:20.527" v="1902" actId="164"/>
          <ac:grpSpMkLst>
            <pc:docMk/>
            <pc:sldMk cId="2899417767" sldId="3217"/>
            <ac:grpSpMk id="18" creationId="{96A85EB4-F865-4EE2-9E5E-610493EAB57C}"/>
          </ac:grpSpMkLst>
        </pc:grpChg>
        <pc:picChg chg="mod">
          <ac:chgData name="Deshpande, Mayuri (T RDA FOA PAE-US)" userId="307bd999-17dd-4997-b1e2-139127ad27ac" providerId="ADAL" clId="{179BC8E9-6240-4755-8B11-A9D10960E425}" dt="2021-04-28T01:12:46.745" v="1899" actId="478"/>
          <ac:picMkLst>
            <pc:docMk/>
            <pc:sldMk cId="2899417767" sldId="3217"/>
            <ac:picMk id="6" creationId="{C461B4CB-8968-40D5-9492-0486B4768527}"/>
          </ac:picMkLst>
        </pc:picChg>
        <pc:picChg chg="mod">
          <ac:chgData name="Deshpande, Mayuri (T RDA FOA PAE-US)" userId="307bd999-17dd-4997-b1e2-139127ad27ac" providerId="ADAL" clId="{179BC8E9-6240-4755-8B11-A9D10960E425}" dt="2021-04-28T01:12:46.745" v="1899" actId="478"/>
          <ac:picMkLst>
            <pc:docMk/>
            <pc:sldMk cId="2899417767" sldId="3217"/>
            <ac:picMk id="7" creationId="{094E5E29-40B6-486A-BDE1-888D60050C1E}"/>
          </ac:picMkLst>
        </pc:picChg>
        <pc:picChg chg="mod">
          <ac:chgData name="Deshpande, Mayuri (T RDA FOA PAE-US)" userId="307bd999-17dd-4997-b1e2-139127ad27ac" providerId="ADAL" clId="{179BC8E9-6240-4755-8B11-A9D10960E425}" dt="2021-04-28T01:12:46.745" v="1899" actId="478"/>
          <ac:picMkLst>
            <pc:docMk/>
            <pc:sldMk cId="2899417767" sldId="3217"/>
            <ac:picMk id="8" creationId="{EFC62587-A2ED-4608-B321-F32DBA11B51A}"/>
          </ac:picMkLst>
        </pc:picChg>
        <pc:picChg chg="del mod">
          <ac:chgData name="Deshpande, Mayuri (T RDA FOA PAE-US)" userId="307bd999-17dd-4997-b1e2-139127ad27ac" providerId="ADAL" clId="{179BC8E9-6240-4755-8B11-A9D10960E425}" dt="2021-04-28T01:12:46.745" v="1899" actId="478"/>
          <ac:picMkLst>
            <pc:docMk/>
            <pc:sldMk cId="2899417767" sldId="3217"/>
            <ac:picMk id="9" creationId="{B39348E4-632F-46AF-85F5-E02C54139461}"/>
          </ac:picMkLst>
        </pc:picChg>
        <pc:picChg chg="mod">
          <ac:chgData name="Deshpande, Mayuri (T RDA FOA PAE-US)" userId="307bd999-17dd-4997-b1e2-139127ad27ac" providerId="ADAL" clId="{179BC8E9-6240-4755-8B11-A9D10960E425}" dt="2021-04-28T01:12:46.745" v="1899" actId="478"/>
          <ac:picMkLst>
            <pc:docMk/>
            <pc:sldMk cId="2899417767" sldId="3217"/>
            <ac:picMk id="13" creationId="{78333D8F-A9D7-4F27-B396-C4897B137C8D}"/>
          </ac:picMkLst>
        </pc:picChg>
        <pc:picChg chg="mod">
          <ac:chgData name="Deshpande, Mayuri (T RDA FOA PAE-US)" userId="307bd999-17dd-4997-b1e2-139127ad27ac" providerId="ADAL" clId="{179BC8E9-6240-4755-8B11-A9D10960E425}" dt="2021-04-28T01:12:46.745" v="1899" actId="478"/>
          <ac:picMkLst>
            <pc:docMk/>
            <pc:sldMk cId="2899417767" sldId="3217"/>
            <ac:picMk id="14" creationId="{FDD5A4A0-BF54-4A6A-992E-F8997C0E52EA}"/>
          </ac:picMkLst>
        </pc:picChg>
        <pc:picChg chg="mod">
          <ac:chgData name="Deshpande, Mayuri (T RDA FOA PAE-US)" userId="307bd999-17dd-4997-b1e2-139127ad27ac" providerId="ADAL" clId="{179BC8E9-6240-4755-8B11-A9D10960E425}" dt="2021-04-28T01:12:46.745" v="1899" actId="478"/>
          <ac:picMkLst>
            <pc:docMk/>
            <pc:sldMk cId="2899417767" sldId="3217"/>
            <ac:picMk id="15" creationId="{F851988E-5C54-4FF2-97D6-8B3B9971E41F}"/>
          </ac:picMkLst>
        </pc:picChg>
        <pc:picChg chg="add mod">
          <ac:chgData name="Deshpande, Mayuri (T RDA FOA PAE-US)" userId="307bd999-17dd-4997-b1e2-139127ad27ac" providerId="ADAL" clId="{179BC8E9-6240-4755-8B11-A9D10960E425}" dt="2021-04-28T01:13:20.527" v="1902" actId="164"/>
          <ac:picMkLst>
            <pc:docMk/>
            <pc:sldMk cId="2899417767" sldId="3217"/>
            <ac:picMk id="17" creationId="{0B0EC136-70FC-4510-9CE0-6D5AE55E7765}"/>
          </ac:picMkLst>
        </pc:picChg>
        <pc:cxnChg chg="mod">
          <ac:chgData name="Deshpande, Mayuri (T RDA FOA PAE-US)" userId="307bd999-17dd-4997-b1e2-139127ad27ac" providerId="ADAL" clId="{179BC8E9-6240-4755-8B11-A9D10960E425}" dt="2021-04-28T01:12:46.745" v="1899" actId="478"/>
          <ac:cxnSpMkLst>
            <pc:docMk/>
            <pc:sldMk cId="2899417767" sldId="3217"/>
            <ac:cxnSpMk id="10" creationId="{64B1EC1B-CC2A-4706-9A2A-48B4FAE08678}"/>
          </ac:cxnSpMkLst>
        </pc:cxnChg>
        <pc:cxnChg chg="mod">
          <ac:chgData name="Deshpande, Mayuri (T RDA FOA PAE-US)" userId="307bd999-17dd-4997-b1e2-139127ad27ac" providerId="ADAL" clId="{179BC8E9-6240-4755-8B11-A9D10960E425}" dt="2021-04-28T01:12:46.745" v="1899" actId="478"/>
          <ac:cxnSpMkLst>
            <pc:docMk/>
            <pc:sldMk cId="2899417767" sldId="3217"/>
            <ac:cxnSpMk id="11" creationId="{0726A563-7537-4D7C-9161-0FD2F873ECF0}"/>
          </ac:cxnSpMkLst>
        </pc:cxnChg>
        <pc:cxnChg chg="mod">
          <ac:chgData name="Deshpande, Mayuri (T RDA FOA PAE-US)" userId="307bd999-17dd-4997-b1e2-139127ad27ac" providerId="ADAL" clId="{179BC8E9-6240-4755-8B11-A9D10960E425}" dt="2021-04-28T01:12:46.745" v="1899" actId="478"/>
          <ac:cxnSpMkLst>
            <pc:docMk/>
            <pc:sldMk cId="2899417767" sldId="3217"/>
            <ac:cxnSpMk id="12" creationId="{2FC68F9F-AD5D-4AE9-BC77-97762F1E6F43}"/>
          </ac:cxnSpMkLst>
        </pc:cxnChg>
      </pc:sldChg>
      <pc:sldMasterChg chg="addSp modSp mod delSldLayout modSldLayout">
        <pc:chgData name="Deshpande, Mayuri (T RDA FOA PAE-US)" userId="307bd999-17dd-4997-b1e2-139127ad27ac" providerId="ADAL" clId="{179BC8E9-6240-4755-8B11-A9D10960E425}" dt="2021-04-19T23:06:43.336" v="1749"/>
        <pc:sldMasterMkLst>
          <pc:docMk/>
          <pc:sldMasterMk cId="1698585145" sldId="2147483648"/>
        </pc:sldMasterMkLst>
        <pc:spChg chg="mod">
          <ac:chgData name="Deshpande, Mayuri (T RDA FOA PAE-US)" userId="307bd999-17dd-4997-b1e2-139127ad27ac" providerId="ADAL" clId="{179BC8E9-6240-4755-8B11-A9D10960E425}" dt="2021-04-19T23:04:13.175" v="1725" actId="20577"/>
          <ac:spMkLst>
            <pc:docMk/>
            <pc:sldMasterMk cId="1698585145" sldId="2147483648"/>
            <ac:spMk id="5" creationId="{4F5CAFE5-0972-49AB-B42B-7C613C153AFE}"/>
          </ac:spMkLst>
        </pc:spChg>
        <pc:spChg chg="mod">
          <ac:chgData name="Deshpande, Mayuri (T RDA FOA PAE-US)" userId="307bd999-17dd-4997-b1e2-139127ad27ac" providerId="ADAL" clId="{179BC8E9-6240-4755-8B11-A9D10960E425}" dt="2021-04-19T14:41:56.675" v="408" actId="1076"/>
          <ac:spMkLst>
            <pc:docMk/>
            <pc:sldMasterMk cId="1698585145" sldId="2147483648"/>
            <ac:spMk id="6" creationId="{1C051FD7-F65C-4306-9083-C9770A0AF2DF}"/>
          </ac:spMkLst>
        </pc:spChg>
        <pc:picChg chg="add mod">
          <ac:chgData name="Deshpande, Mayuri (T RDA FOA PAE-US)" userId="307bd999-17dd-4997-b1e2-139127ad27ac" providerId="ADAL" clId="{179BC8E9-6240-4755-8B11-A9D10960E425}" dt="2021-04-19T14:07:21.905" v="197"/>
          <ac:picMkLst>
            <pc:docMk/>
            <pc:sldMasterMk cId="1698585145" sldId="2147483648"/>
            <ac:picMk id="7" creationId="{5425ABEA-DDEA-47D9-A706-53A175FCB353}"/>
          </ac:picMkLst>
        </pc:picChg>
        <pc:sldLayoutChg chg="modSp mod">
          <pc:chgData name="Deshpande, Mayuri (T RDA FOA PAE-US)" userId="307bd999-17dd-4997-b1e2-139127ad27ac" providerId="ADAL" clId="{179BC8E9-6240-4755-8B11-A9D10960E425}" dt="2021-04-19T14:42:41.115" v="420" actId="1076"/>
          <pc:sldLayoutMkLst>
            <pc:docMk/>
            <pc:sldMasterMk cId="1698585145" sldId="2147483648"/>
            <pc:sldLayoutMk cId="2943002918" sldId="2147483655"/>
          </pc:sldLayoutMkLst>
          <pc:spChg chg="mod">
            <ac:chgData name="Deshpande, Mayuri (T RDA FOA PAE-US)" userId="307bd999-17dd-4997-b1e2-139127ad27ac" providerId="ADAL" clId="{179BC8E9-6240-4755-8B11-A9D10960E425}" dt="2021-04-19T14:42:41.115" v="420" actId="1076"/>
            <ac:spMkLst>
              <pc:docMk/>
              <pc:sldMasterMk cId="1698585145" sldId="2147483648"/>
              <pc:sldLayoutMk cId="2943002918" sldId="2147483655"/>
              <ac:spMk id="10" creationId="{D3DF1D7C-B467-46E9-B036-83EC1DBE711C}"/>
            </ac:spMkLst>
          </pc:spChg>
        </pc:sldLayoutChg>
        <pc:sldLayoutChg chg="modSp mod">
          <pc:chgData name="Deshpande, Mayuri (T RDA FOA PAE-US)" userId="307bd999-17dd-4997-b1e2-139127ad27ac" providerId="ADAL" clId="{179BC8E9-6240-4755-8B11-A9D10960E425}" dt="2021-04-19T14:42:29.541" v="415" actId="1035"/>
          <pc:sldLayoutMkLst>
            <pc:docMk/>
            <pc:sldMasterMk cId="1698585145" sldId="2147483648"/>
            <pc:sldLayoutMk cId="674823635" sldId="2147483708"/>
          </pc:sldLayoutMkLst>
          <pc:spChg chg="mod">
            <ac:chgData name="Deshpande, Mayuri (T RDA FOA PAE-US)" userId="307bd999-17dd-4997-b1e2-139127ad27ac" providerId="ADAL" clId="{179BC8E9-6240-4755-8B11-A9D10960E425}" dt="2021-04-19T14:42:29.541" v="415" actId="1035"/>
            <ac:spMkLst>
              <pc:docMk/>
              <pc:sldMasterMk cId="1698585145" sldId="2147483648"/>
              <pc:sldLayoutMk cId="674823635" sldId="2147483708"/>
              <ac:spMk id="6" creationId="{E8FC1C65-873A-4B8F-BB57-51EEBC35A1A9}"/>
            </ac:spMkLst>
          </pc:spChg>
        </pc:sldLayoutChg>
        <pc:sldLayoutChg chg="modSp mod">
          <pc:chgData name="Deshpande, Mayuri (T RDA FOA PAE-US)" userId="307bd999-17dd-4997-b1e2-139127ad27ac" providerId="ADAL" clId="{179BC8E9-6240-4755-8B11-A9D10960E425}" dt="2021-04-19T14:42:19.389" v="411" actId="1035"/>
          <pc:sldLayoutMkLst>
            <pc:docMk/>
            <pc:sldMasterMk cId="1698585145" sldId="2147483648"/>
            <pc:sldLayoutMk cId="1455111089" sldId="2147483739"/>
          </pc:sldLayoutMkLst>
          <pc:spChg chg="mod">
            <ac:chgData name="Deshpande, Mayuri (T RDA FOA PAE-US)" userId="307bd999-17dd-4997-b1e2-139127ad27ac" providerId="ADAL" clId="{179BC8E9-6240-4755-8B11-A9D10960E425}" dt="2021-04-19T14:42:19.389" v="411" actId="1035"/>
            <ac:spMkLst>
              <pc:docMk/>
              <pc:sldMasterMk cId="1698585145" sldId="2147483648"/>
              <pc:sldLayoutMk cId="1455111089" sldId="2147483739"/>
              <ac:spMk id="6" creationId="{5B05DC85-FD3C-4245-83A1-F6197CB9E08F}"/>
            </ac:spMkLst>
          </pc:spChg>
        </pc:sldLayoutChg>
        <pc:sldLayoutChg chg="modSp mod">
          <pc:chgData name="Deshpande, Mayuri (T RDA FOA PAE-US)" userId="307bd999-17dd-4997-b1e2-139127ad27ac" providerId="ADAL" clId="{179BC8E9-6240-4755-8B11-A9D10960E425}" dt="2021-04-19T14:42:23.724" v="412" actId="1076"/>
          <pc:sldLayoutMkLst>
            <pc:docMk/>
            <pc:sldMasterMk cId="1698585145" sldId="2147483648"/>
            <pc:sldLayoutMk cId="3943902260" sldId="2147483740"/>
          </pc:sldLayoutMkLst>
          <pc:spChg chg="mod">
            <ac:chgData name="Deshpande, Mayuri (T RDA FOA PAE-US)" userId="307bd999-17dd-4997-b1e2-139127ad27ac" providerId="ADAL" clId="{179BC8E9-6240-4755-8B11-A9D10960E425}" dt="2021-04-19T14:42:23.724" v="412" actId="1076"/>
            <ac:spMkLst>
              <pc:docMk/>
              <pc:sldMasterMk cId="1698585145" sldId="2147483648"/>
              <pc:sldLayoutMk cId="3943902260" sldId="2147483740"/>
              <ac:spMk id="6" creationId="{447F428C-5AA7-413C-A721-B7AADDF8B425}"/>
            </ac:spMkLst>
          </pc:spChg>
        </pc:sldLayoutChg>
        <pc:sldLayoutChg chg="modSp mod">
          <pc:chgData name="Deshpande, Mayuri (T RDA FOA PAE-US)" userId="307bd999-17dd-4997-b1e2-139127ad27ac" providerId="ADAL" clId="{179BC8E9-6240-4755-8B11-A9D10960E425}" dt="2021-04-19T14:42:52.418" v="424" actId="1035"/>
          <pc:sldLayoutMkLst>
            <pc:docMk/>
            <pc:sldMasterMk cId="1698585145" sldId="2147483648"/>
            <pc:sldLayoutMk cId="2968626746" sldId="2147483742"/>
          </pc:sldLayoutMkLst>
          <pc:spChg chg="mod">
            <ac:chgData name="Deshpande, Mayuri (T RDA FOA PAE-US)" userId="307bd999-17dd-4997-b1e2-139127ad27ac" providerId="ADAL" clId="{179BC8E9-6240-4755-8B11-A9D10960E425}" dt="2021-04-19T14:42:52.418" v="424" actId="1035"/>
            <ac:spMkLst>
              <pc:docMk/>
              <pc:sldMasterMk cId="1698585145" sldId="2147483648"/>
              <pc:sldLayoutMk cId="2968626746" sldId="2147483742"/>
              <ac:spMk id="10" creationId="{D3DF1D7C-B467-46E9-B036-83EC1DBE711C}"/>
            </ac:spMkLst>
          </pc:spChg>
        </pc:sldLayoutChg>
        <pc:sldLayoutChg chg="addSp modSp mod">
          <pc:chgData name="Deshpande, Mayuri (T RDA FOA PAE-US)" userId="307bd999-17dd-4997-b1e2-139127ad27ac" providerId="ADAL" clId="{179BC8E9-6240-4755-8B11-A9D10960E425}" dt="2021-04-19T23:06:13.443" v="1731" actId="20577"/>
          <pc:sldLayoutMkLst>
            <pc:docMk/>
            <pc:sldMasterMk cId="1698585145" sldId="2147483648"/>
            <pc:sldLayoutMk cId="339893585" sldId="2147483753"/>
          </pc:sldLayoutMkLst>
          <pc:spChg chg="add mod">
            <ac:chgData name="Deshpande, Mayuri (T RDA FOA PAE-US)" userId="307bd999-17dd-4997-b1e2-139127ad27ac" providerId="ADAL" clId="{179BC8E9-6240-4755-8B11-A9D10960E425}" dt="2021-04-19T23:05:37.839" v="1726"/>
            <ac:spMkLst>
              <pc:docMk/>
              <pc:sldMasterMk cId="1698585145" sldId="2147483648"/>
              <pc:sldLayoutMk cId="339893585" sldId="2147483753"/>
              <ac:spMk id="3" creationId="{B79064B2-56A7-4D96-B9B9-7F65FE993EAB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23:06:13.443" v="1731" actId="20577"/>
            <ac:spMkLst>
              <pc:docMk/>
              <pc:sldMasterMk cId="1698585145" sldId="2147483648"/>
              <pc:sldLayoutMk cId="339893585" sldId="2147483753"/>
              <ac:spMk id="4" creationId="{B788255C-81D1-4BD1-8EE4-89CCADF0B85E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0:36.318" v="396" actId="571"/>
            <ac:spMkLst>
              <pc:docMk/>
              <pc:sldMasterMk cId="1698585145" sldId="2147483648"/>
              <pc:sldLayoutMk cId="339893585" sldId="2147483753"/>
              <ac:spMk id="5" creationId="{209B3DEA-2495-4749-AE7F-B2BFB82FB6BC}"/>
            </ac:spMkLst>
          </pc:spChg>
        </pc:sldLayoutChg>
        <pc:sldLayoutChg chg="addSp modSp mod">
          <pc:chgData name="Deshpande, Mayuri (T RDA FOA PAE-US)" userId="307bd999-17dd-4997-b1e2-139127ad27ac" providerId="ADAL" clId="{179BC8E9-6240-4755-8B11-A9D10960E425}" dt="2021-04-19T23:06:25.526" v="1737"/>
          <pc:sldLayoutMkLst>
            <pc:docMk/>
            <pc:sldMasterMk cId="1698585145" sldId="2147483648"/>
            <pc:sldLayoutMk cId="3131793895" sldId="2147483784"/>
          </pc:sldLayoutMkLst>
          <pc:spChg chg="add mod">
            <ac:chgData name="Deshpande, Mayuri (T RDA FOA PAE-US)" userId="307bd999-17dd-4997-b1e2-139127ad27ac" providerId="ADAL" clId="{179BC8E9-6240-4755-8B11-A9D10960E425}" dt="2021-04-19T23:06:25.526" v="1737"/>
            <ac:spMkLst>
              <pc:docMk/>
              <pc:sldMasterMk cId="1698585145" sldId="2147483648"/>
              <pc:sldLayoutMk cId="3131793895" sldId="2147483784"/>
              <ac:spMk id="4" creationId="{36D6C921-712B-479D-BF45-145D8D4240D3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23:06:20.052" v="1736" actId="20577"/>
            <ac:spMkLst>
              <pc:docMk/>
              <pc:sldMasterMk cId="1698585145" sldId="2147483648"/>
              <pc:sldLayoutMk cId="3131793895" sldId="2147483784"/>
              <ac:spMk id="6" creationId="{30FE9CA0-E54A-4C05-AA52-921775767369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9:06.931" v="500" actId="571"/>
          <pc:sldLayoutMkLst>
            <pc:docMk/>
            <pc:sldMasterMk cId="1698585145" sldId="2147483648"/>
            <pc:sldLayoutMk cId="2002795492" sldId="2147483785"/>
          </pc:sldLayoutMkLst>
          <pc:spChg chg="add mod">
            <ac:chgData name="Deshpande, Mayuri (T RDA FOA PAE-US)" userId="307bd999-17dd-4997-b1e2-139127ad27ac" providerId="ADAL" clId="{179BC8E9-6240-4755-8B11-A9D10960E425}" dt="2021-04-19T14:31:09.748" v="343"/>
            <ac:spMkLst>
              <pc:docMk/>
              <pc:sldMasterMk cId="1698585145" sldId="2147483648"/>
              <pc:sldLayoutMk cId="2002795492" sldId="2147483785"/>
              <ac:spMk id="35" creationId="{6BA18FDF-B22B-4248-BDDD-4E8D83631A38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31:36.058" v="344"/>
            <ac:spMkLst>
              <pc:docMk/>
              <pc:sldMasterMk cId="1698585145" sldId="2147483648"/>
              <pc:sldLayoutMk cId="2002795492" sldId="2147483785"/>
              <ac:spMk id="36" creationId="{A13AB53E-D4C2-4EBF-B0A5-FC6402221AFF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9:06.931" v="500" actId="571"/>
            <ac:spMkLst>
              <pc:docMk/>
              <pc:sldMasterMk cId="1698585145" sldId="2147483648"/>
              <pc:sldLayoutMk cId="2002795492" sldId="2147483785"/>
              <ac:spMk id="37" creationId="{AB64ABC4-F131-470C-A4E7-515D8E15A7BF}"/>
            </ac:spMkLst>
          </pc:spChg>
        </pc:sldLayoutChg>
        <pc:sldLayoutChg chg="addSp delSp modSp del">
          <pc:chgData name="Deshpande, Mayuri (T RDA FOA PAE-US)" userId="307bd999-17dd-4997-b1e2-139127ad27ac" providerId="ADAL" clId="{179BC8E9-6240-4755-8B11-A9D10960E425}" dt="2021-04-19T14:46:34.554" v="475" actId="47"/>
          <pc:sldLayoutMkLst>
            <pc:docMk/>
            <pc:sldMasterMk cId="1698585145" sldId="2147483648"/>
            <pc:sldLayoutMk cId="3326595391" sldId="2147483786"/>
          </pc:sldLayoutMkLst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8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9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0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1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2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3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4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5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6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7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8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19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0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1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2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3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4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5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6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7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8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29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30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31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32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33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38:02.513" v="387" actId="1076"/>
            <ac:spMkLst>
              <pc:docMk/>
              <pc:sldMasterMk cId="1698585145" sldId="2147483648"/>
              <pc:sldLayoutMk cId="3326595391" sldId="2147483786"/>
              <ac:spMk id="34" creationId="{00000000-0000-0000-0000-000000000000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3:10.144" v="425"/>
            <ac:spMkLst>
              <pc:docMk/>
              <pc:sldMasterMk cId="1698585145" sldId="2147483648"/>
              <pc:sldLayoutMk cId="3326595391" sldId="2147483786"/>
              <ac:spMk id="35" creationId="{16FF13B0-B23E-4543-9CC2-FEF601285A67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3:10.144" v="425"/>
            <ac:spMkLst>
              <pc:docMk/>
              <pc:sldMasterMk cId="1698585145" sldId="2147483648"/>
              <pc:sldLayoutMk cId="3326595391" sldId="2147483786"/>
              <ac:spMk id="36" creationId="{07CAED0B-95F6-4AED-BEF9-BD38A4C44310}"/>
            </ac:spMkLst>
          </pc:spChg>
          <pc:grpChg chg="del mod">
            <ac:chgData name="Deshpande, Mayuri (T RDA FOA PAE-US)" userId="307bd999-17dd-4997-b1e2-139127ad27ac" providerId="ADAL" clId="{179BC8E9-6240-4755-8B11-A9D10960E425}" dt="2021-04-19T14:38:03.215" v="388" actId="478"/>
            <ac:grpSpMkLst>
              <pc:docMk/>
              <pc:sldMasterMk cId="1698585145" sldId="2147483648"/>
              <pc:sldLayoutMk cId="3326595391" sldId="2147483786"/>
              <ac:grpSpMk id="6" creationId="{00000000-0000-0000-0000-000000000000}"/>
            </ac:grpSpMkLst>
          </pc:grpChg>
        </pc:sldLayoutChg>
        <pc:sldLayoutChg chg="addSp modSp mod">
          <pc:chgData name="Deshpande, Mayuri (T RDA FOA PAE-US)" userId="307bd999-17dd-4997-b1e2-139127ad27ac" providerId="ADAL" clId="{179BC8E9-6240-4755-8B11-A9D10960E425}" dt="2021-04-19T23:06:34.606" v="1743" actId="20577"/>
          <pc:sldLayoutMkLst>
            <pc:docMk/>
            <pc:sldMasterMk cId="1698585145" sldId="2147483648"/>
            <pc:sldLayoutMk cId="2703284331" sldId="2147483787"/>
          </pc:sldLayoutMkLst>
          <pc:spChg chg="add mod">
            <ac:chgData name="Deshpande, Mayuri (T RDA FOA PAE-US)" userId="307bd999-17dd-4997-b1e2-139127ad27ac" providerId="ADAL" clId="{179BC8E9-6240-4755-8B11-A9D10960E425}" dt="2021-04-19T23:06:34.606" v="1743" actId="20577"/>
            <ac:spMkLst>
              <pc:docMk/>
              <pc:sldMasterMk cId="1698585145" sldId="2147483648"/>
              <pc:sldLayoutMk cId="2703284331" sldId="2147483787"/>
              <ac:spMk id="5" creationId="{9B0CBFE5-881C-4C0A-ACBA-DB2500CC6683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23:06:30.393" v="1738"/>
            <ac:spMkLst>
              <pc:docMk/>
              <pc:sldMasterMk cId="1698585145" sldId="2147483648"/>
              <pc:sldLayoutMk cId="2703284331" sldId="2147483787"/>
              <ac:spMk id="6" creationId="{61791453-3764-4B77-8619-AB9B41C63EB3}"/>
            </ac:spMkLst>
          </pc:spChg>
        </pc:sldLayoutChg>
        <pc:sldLayoutChg chg="addSp delSp modSp mod">
          <pc:chgData name="Deshpande, Mayuri (T RDA FOA PAE-US)" userId="307bd999-17dd-4997-b1e2-139127ad27ac" providerId="ADAL" clId="{179BC8E9-6240-4755-8B11-A9D10960E425}" dt="2021-04-19T23:06:43.336" v="1749"/>
          <pc:sldLayoutMkLst>
            <pc:docMk/>
            <pc:sldMasterMk cId="1698585145" sldId="2147483648"/>
            <pc:sldLayoutMk cId="3368145877" sldId="2147483788"/>
          </pc:sldLayoutMkLst>
          <pc:spChg chg="add del mod">
            <ac:chgData name="Deshpande, Mayuri (T RDA FOA PAE-US)" userId="307bd999-17dd-4997-b1e2-139127ad27ac" providerId="ADAL" clId="{179BC8E9-6240-4755-8B11-A9D10960E425}" dt="2021-04-19T14:27:06.636" v="331" actId="478"/>
            <ac:spMkLst>
              <pc:docMk/>
              <pc:sldMasterMk cId="1698585145" sldId="2147483648"/>
              <pc:sldLayoutMk cId="3368145877" sldId="2147483788"/>
              <ac:spMk id="5" creationId="{3E9F0F8F-CF16-411C-9AFA-801F7402EFFA}"/>
            </ac:spMkLst>
          </pc:spChg>
          <pc:spChg chg="add del mod">
            <ac:chgData name="Deshpande, Mayuri (T RDA FOA PAE-US)" userId="307bd999-17dd-4997-b1e2-139127ad27ac" providerId="ADAL" clId="{179BC8E9-6240-4755-8B11-A9D10960E425}" dt="2021-04-19T14:26:55.563" v="326" actId="478"/>
            <ac:spMkLst>
              <pc:docMk/>
              <pc:sldMasterMk cId="1698585145" sldId="2147483648"/>
              <pc:sldLayoutMk cId="3368145877" sldId="2147483788"/>
              <ac:spMk id="6" creationId="{A675C47F-726F-4F28-95F3-726E24C7DDBC}"/>
            </ac:spMkLst>
          </pc:spChg>
          <pc:spChg chg="add del mod">
            <ac:chgData name="Deshpande, Mayuri (T RDA FOA PAE-US)" userId="307bd999-17dd-4997-b1e2-139127ad27ac" providerId="ADAL" clId="{179BC8E9-6240-4755-8B11-A9D10960E425}" dt="2021-04-19T14:27:04.277" v="329" actId="478"/>
            <ac:spMkLst>
              <pc:docMk/>
              <pc:sldMasterMk cId="1698585145" sldId="2147483648"/>
              <pc:sldLayoutMk cId="3368145877" sldId="2147483788"/>
              <ac:spMk id="7" creationId="{3E400E8E-1C2F-416A-93A0-E862AECDD477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23:06:43.336" v="1749"/>
            <ac:spMkLst>
              <pc:docMk/>
              <pc:sldMasterMk cId="1698585145" sldId="2147483648"/>
              <pc:sldLayoutMk cId="3368145877" sldId="2147483788"/>
              <ac:spMk id="8" creationId="{4A82D1FE-933F-4CF5-817D-93F13F41C929}"/>
            </ac:spMkLst>
          </pc:spChg>
          <pc:spChg chg="mod">
            <ac:chgData name="Deshpande, Mayuri (T RDA FOA PAE-US)" userId="307bd999-17dd-4997-b1e2-139127ad27ac" providerId="ADAL" clId="{179BC8E9-6240-4755-8B11-A9D10960E425}" dt="2021-04-19T14:28:12.285" v="333" actId="1076"/>
            <ac:spMkLst>
              <pc:docMk/>
              <pc:sldMasterMk cId="1698585145" sldId="2147483648"/>
              <pc:sldLayoutMk cId="3368145877" sldId="2147483788"/>
              <ac:spMk id="18" creationId="{00000000-0000-0000-0000-000000000000}"/>
            </ac:spMkLst>
          </pc:spChg>
          <pc:spChg chg="mod">
            <ac:chgData name="Deshpande, Mayuri (T RDA FOA PAE-US)" userId="307bd999-17dd-4997-b1e2-139127ad27ac" providerId="ADAL" clId="{179BC8E9-6240-4755-8B11-A9D10960E425}" dt="2021-04-19T23:06:40.311" v="1748" actId="20577"/>
            <ac:spMkLst>
              <pc:docMk/>
              <pc:sldMasterMk cId="1698585145" sldId="2147483648"/>
              <pc:sldLayoutMk cId="3368145877" sldId="2147483788"/>
              <ac:spMk id="19" creationId="{00000000-0000-0000-0000-000000000000}"/>
            </ac:spMkLst>
          </pc:spChg>
        </pc:sldLayoutChg>
      </pc:sldMasterChg>
      <pc:sldMasterChg chg="addSp delSp modSp mod modSldLayout">
        <pc:chgData name="Deshpande, Mayuri (T RDA FOA PAE-US)" userId="307bd999-17dd-4997-b1e2-139127ad27ac" providerId="ADAL" clId="{179BC8E9-6240-4755-8B11-A9D10960E425}" dt="2021-04-19T23:06:48.971" v="1750"/>
        <pc:sldMasterMkLst>
          <pc:docMk/>
          <pc:sldMasterMk cId="1123453602" sldId="2147483754"/>
        </pc:sldMasterMkLst>
        <pc:spChg chg="del mod">
          <ac:chgData name="Deshpande, Mayuri (T RDA FOA PAE-US)" userId="307bd999-17dd-4997-b1e2-139127ad27ac" providerId="ADAL" clId="{179BC8E9-6240-4755-8B11-A9D10960E425}" dt="2021-04-19T14:40:53.790" v="399" actId="478"/>
          <ac:spMkLst>
            <pc:docMk/>
            <pc:sldMasterMk cId="1123453602" sldId="2147483754"/>
            <ac:spMk id="63" creationId="{00000000-0000-0000-0000-000000000000}"/>
          </ac:spMkLst>
        </pc:spChg>
        <pc:spChg chg="del mod">
          <ac:chgData name="Deshpande, Mayuri (T RDA FOA PAE-US)" userId="307bd999-17dd-4997-b1e2-139127ad27ac" providerId="ADAL" clId="{179BC8E9-6240-4755-8B11-A9D10960E425}" dt="2021-04-19T14:41:02.149" v="402" actId="478"/>
          <ac:spMkLst>
            <pc:docMk/>
            <pc:sldMasterMk cId="1123453602" sldId="2147483754"/>
            <ac:spMk id="64" creationId="{00000000-0000-0000-0000-000000000000}"/>
          </ac:spMkLst>
        </pc:spChg>
        <pc:spChg chg="del">
          <ac:chgData name="Deshpande, Mayuri (T RDA FOA PAE-US)" userId="307bd999-17dd-4997-b1e2-139127ad27ac" providerId="ADAL" clId="{179BC8E9-6240-4755-8B11-A9D10960E425}" dt="2021-04-19T14:41:07.749" v="403" actId="478"/>
          <ac:spMkLst>
            <pc:docMk/>
            <pc:sldMasterMk cId="1123453602" sldId="2147483754"/>
            <ac:spMk id="65" creationId="{00000000-0000-0000-0000-000000000000}"/>
          </ac:spMkLst>
        </pc:spChg>
        <pc:spChg chg="del">
          <ac:chgData name="Deshpande, Mayuri (T RDA FOA PAE-US)" userId="307bd999-17dd-4997-b1e2-139127ad27ac" providerId="ADAL" clId="{179BC8E9-6240-4755-8B11-A9D10960E425}" dt="2021-04-19T14:40:49.226" v="398" actId="478"/>
          <ac:spMkLst>
            <pc:docMk/>
            <pc:sldMasterMk cId="1123453602" sldId="2147483754"/>
            <ac:spMk id="66" creationId="{00000000-0000-0000-0000-000000000000}"/>
          </ac:spMkLst>
        </pc:spChg>
        <pc:spChg chg="add mod">
          <ac:chgData name="Deshpande, Mayuri (T RDA FOA PAE-US)" userId="307bd999-17dd-4997-b1e2-139127ad27ac" providerId="ADAL" clId="{179BC8E9-6240-4755-8B11-A9D10960E425}" dt="2021-04-19T23:06:48.971" v="1750"/>
          <ac:spMkLst>
            <pc:docMk/>
            <pc:sldMasterMk cId="1123453602" sldId="2147483754"/>
            <ac:spMk id="110" creationId="{E52F8570-8DB1-4A4E-89E9-59E5A3F6BE7E}"/>
          </ac:spMkLst>
        </pc:spChg>
        <pc:spChg chg="add del mod">
          <ac:chgData name="Deshpande, Mayuri (T RDA FOA PAE-US)" userId="307bd999-17dd-4997-b1e2-139127ad27ac" providerId="ADAL" clId="{179BC8E9-6240-4755-8B11-A9D10960E425}" dt="2021-04-19T14:43:23.422" v="427" actId="478"/>
          <ac:spMkLst>
            <pc:docMk/>
            <pc:sldMasterMk cId="1123453602" sldId="2147483754"/>
            <ac:spMk id="111" creationId="{A4914D4C-9840-499A-8193-CDFA84AAEB2A}"/>
          </ac:spMkLst>
        </pc:spChg>
        <pc:spChg chg="add mod">
          <ac:chgData name="Deshpande, Mayuri (T RDA FOA PAE-US)" userId="307bd999-17dd-4997-b1e2-139127ad27ac" providerId="ADAL" clId="{179BC8E9-6240-4755-8B11-A9D10960E425}" dt="2021-04-19T14:43:17.919" v="426"/>
          <ac:spMkLst>
            <pc:docMk/>
            <pc:sldMasterMk cId="1123453602" sldId="2147483754"/>
            <ac:spMk id="112" creationId="{1F241217-5BE0-4B15-8515-97874FC2C206}"/>
          </ac:spMkLst>
        </pc:spChg>
        <pc:sldLayoutChg chg="addSp delSp modSp mod">
          <pc:chgData name="Deshpande, Mayuri (T RDA FOA PAE-US)" userId="307bd999-17dd-4997-b1e2-139127ad27ac" providerId="ADAL" clId="{179BC8E9-6240-4755-8B11-A9D10960E425}" dt="2021-04-19T14:43:34.524" v="429" actId="478"/>
          <pc:sldLayoutMkLst>
            <pc:docMk/>
            <pc:sldMasterMk cId="1123453602" sldId="2147483754"/>
            <pc:sldLayoutMk cId="2644554324" sldId="2147483761"/>
          </pc:sldLayoutMkLst>
          <pc:spChg chg="add del mod">
            <ac:chgData name="Deshpande, Mayuri (T RDA FOA PAE-US)" userId="307bd999-17dd-4997-b1e2-139127ad27ac" providerId="ADAL" clId="{179BC8E9-6240-4755-8B11-A9D10960E425}" dt="2021-04-19T14:43:34.524" v="429" actId="478"/>
            <ac:spMkLst>
              <pc:docMk/>
              <pc:sldMasterMk cId="1123453602" sldId="2147483754"/>
              <pc:sldLayoutMk cId="2644554324" sldId="2147483761"/>
              <ac:spMk id="5" creationId="{7FD2D0F4-3B97-462E-B26A-EA0DDC95F164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3:31.540" v="428"/>
            <ac:spMkLst>
              <pc:docMk/>
              <pc:sldMasterMk cId="1123453602" sldId="2147483754"/>
              <pc:sldLayoutMk cId="2644554324" sldId="2147483761"/>
              <ac:spMk id="6" creationId="{8B225346-5622-4621-8873-4653A8D5CA6E}"/>
            </ac:spMkLst>
          </pc:spChg>
        </pc:sldLayoutChg>
        <pc:sldLayoutChg chg="addSp delSp modSp mod">
          <pc:chgData name="Deshpande, Mayuri (T RDA FOA PAE-US)" userId="307bd999-17dd-4997-b1e2-139127ad27ac" providerId="ADAL" clId="{179BC8E9-6240-4755-8B11-A9D10960E425}" dt="2021-04-19T14:43:42.114" v="431" actId="478"/>
          <pc:sldLayoutMkLst>
            <pc:docMk/>
            <pc:sldMasterMk cId="1123453602" sldId="2147483754"/>
            <pc:sldLayoutMk cId="2364122631" sldId="2147483762"/>
          </pc:sldLayoutMkLst>
          <pc:spChg chg="add del mod">
            <ac:chgData name="Deshpande, Mayuri (T RDA FOA PAE-US)" userId="307bd999-17dd-4997-b1e2-139127ad27ac" providerId="ADAL" clId="{179BC8E9-6240-4755-8B11-A9D10960E425}" dt="2021-04-19T14:43:42.114" v="431" actId="478"/>
            <ac:spMkLst>
              <pc:docMk/>
              <pc:sldMasterMk cId="1123453602" sldId="2147483754"/>
              <pc:sldLayoutMk cId="2364122631" sldId="2147483762"/>
              <ac:spMk id="6" creationId="{45FFD4FD-3EB7-4336-89D6-50CF949D6470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3:37.707" v="430"/>
            <ac:spMkLst>
              <pc:docMk/>
              <pc:sldMasterMk cId="1123453602" sldId="2147483754"/>
              <pc:sldLayoutMk cId="2364122631" sldId="2147483762"/>
              <ac:spMk id="7" creationId="{32B8D22D-D2B2-4AAA-85FB-CF753B7E7676}"/>
            </ac:spMkLst>
          </pc:spChg>
        </pc:sldLayoutChg>
        <pc:sldLayoutChg chg="addSp delSp modSp mod">
          <pc:chgData name="Deshpande, Mayuri (T RDA FOA PAE-US)" userId="307bd999-17dd-4997-b1e2-139127ad27ac" providerId="ADAL" clId="{179BC8E9-6240-4755-8B11-A9D10960E425}" dt="2021-04-19T14:43:52.645" v="433" actId="478"/>
          <pc:sldLayoutMkLst>
            <pc:docMk/>
            <pc:sldMasterMk cId="1123453602" sldId="2147483754"/>
            <pc:sldLayoutMk cId="2752618385" sldId="2147483763"/>
          </pc:sldLayoutMkLst>
          <pc:spChg chg="add del mod">
            <ac:chgData name="Deshpande, Mayuri (T RDA FOA PAE-US)" userId="307bd999-17dd-4997-b1e2-139127ad27ac" providerId="ADAL" clId="{179BC8E9-6240-4755-8B11-A9D10960E425}" dt="2021-04-19T14:43:52.645" v="433" actId="478"/>
            <ac:spMkLst>
              <pc:docMk/>
              <pc:sldMasterMk cId="1123453602" sldId="2147483754"/>
              <pc:sldLayoutMk cId="2752618385" sldId="2147483763"/>
              <ac:spMk id="4" creationId="{EE759B0D-C48F-4D1E-9C9A-8C92609E891E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3:47.170" v="432"/>
            <ac:spMkLst>
              <pc:docMk/>
              <pc:sldMasterMk cId="1123453602" sldId="2147483754"/>
              <pc:sldLayoutMk cId="2752618385" sldId="2147483763"/>
              <ac:spMk id="5" creationId="{81A73722-BAB1-4A3C-808B-9408D9971FF0}"/>
            </ac:spMkLst>
          </pc:spChg>
        </pc:sldLayoutChg>
        <pc:sldLayoutChg chg="addSp delSp modSp mod">
          <pc:chgData name="Deshpande, Mayuri (T RDA FOA PAE-US)" userId="307bd999-17dd-4997-b1e2-139127ad27ac" providerId="ADAL" clId="{179BC8E9-6240-4755-8B11-A9D10960E425}" dt="2021-04-19T14:44:00.872" v="435" actId="478"/>
          <pc:sldLayoutMkLst>
            <pc:docMk/>
            <pc:sldMasterMk cId="1123453602" sldId="2147483754"/>
            <pc:sldLayoutMk cId="4119880734" sldId="2147483764"/>
          </pc:sldLayoutMkLst>
          <pc:spChg chg="add del mod">
            <ac:chgData name="Deshpande, Mayuri (T RDA FOA PAE-US)" userId="307bd999-17dd-4997-b1e2-139127ad27ac" providerId="ADAL" clId="{179BC8E9-6240-4755-8B11-A9D10960E425}" dt="2021-04-19T14:44:00.872" v="435" actId="478"/>
            <ac:spMkLst>
              <pc:docMk/>
              <pc:sldMasterMk cId="1123453602" sldId="2147483754"/>
              <pc:sldLayoutMk cId="4119880734" sldId="2147483764"/>
              <ac:spMk id="5" creationId="{10D54F05-90A6-4136-9412-FC379BAAE5A8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3:56.422" v="434"/>
            <ac:spMkLst>
              <pc:docMk/>
              <pc:sldMasterMk cId="1123453602" sldId="2147483754"/>
              <pc:sldLayoutMk cId="4119880734" sldId="2147483764"/>
              <ac:spMk id="6" creationId="{9290387B-1F29-4AB3-B2D5-14BC6E1A1CD4}"/>
            </ac:spMkLst>
          </pc:spChg>
        </pc:sldLayoutChg>
        <pc:sldLayoutChg chg="addSp modSp mod">
          <pc:chgData name="Deshpande, Mayuri (T RDA FOA PAE-US)" userId="307bd999-17dd-4997-b1e2-139127ad27ac" providerId="ADAL" clId="{179BC8E9-6240-4755-8B11-A9D10960E425}" dt="2021-04-19T14:44:10.116" v="444" actId="1036"/>
          <pc:sldLayoutMkLst>
            <pc:docMk/>
            <pc:sldMasterMk cId="1123453602" sldId="2147483754"/>
            <pc:sldLayoutMk cId="2963056802" sldId="2147483765"/>
          </pc:sldLayoutMkLst>
          <pc:spChg chg="mod">
            <ac:chgData name="Deshpande, Mayuri (T RDA FOA PAE-US)" userId="307bd999-17dd-4997-b1e2-139127ad27ac" providerId="ADAL" clId="{179BC8E9-6240-4755-8B11-A9D10960E425}" dt="2021-04-19T14:44:10.116" v="444" actId="1036"/>
            <ac:spMkLst>
              <pc:docMk/>
              <pc:sldMasterMk cId="1123453602" sldId="2147483754"/>
              <pc:sldLayoutMk cId="2963056802" sldId="2147483765"/>
              <ac:spMk id="4" creationId="{00000000-0000-0000-0000-000000000000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4:06.749" v="439" actId="1036"/>
            <ac:spMkLst>
              <pc:docMk/>
              <pc:sldMasterMk cId="1123453602" sldId="2147483754"/>
              <pc:sldLayoutMk cId="2963056802" sldId="2147483765"/>
              <ac:spMk id="29" creationId="{14AFBDE2-4DD1-451A-B0A6-225CC86A6621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4:06.749" v="439" actId="1036"/>
            <ac:spMkLst>
              <pc:docMk/>
              <pc:sldMasterMk cId="1123453602" sldId="2147483754"/>
              <pc:sldLayoutMk cId="2963056802" sldId="2147483765"/>
              <ac:spMk id="30" creationId="{94D6C658-CD3F-4FDC-BE83-44AF06F697B7}"/>
            </ac:spMkLst>
          </pc:spChg>
        </pc:sldLayoutChg>
        <pc:sldLayoutChg chg="addSp delSp modSp mod">
          <pc:chgData name="Deshpande, Mayuri (T RDA FOA PAE-US)" userId="307bd999-17dd-4997-b1e2-139127ad27ac" providerId="ADAL" clId="{179BC8E9-6240-4755-8B11-A9D10960E425}" dt="2021-04-19T14:44:21.564" v="447" actId="478"/>
          <pc:sldLayoutMkLst>
            <pc:docMk/>
            <pc:sldMasterMk cId="1123453602" sldId="2147483754"/>
            <pc:sldLayoutMk cId="2174020729" sldId="2147483768"/>
          </pc:sldLayoutMkLst>
          <pc:spChg chg="add del mod">
            <ac:chgData name="Deshpande, Mayuri (T RDA FOA PAE-US)" userId="307bd999-17dd-4997-b1e2-139127ad27ac" providerId="ADAL" clId="{179BC8E9-6240-4755-8B11-A9D10960E425}" dt="2021-04-19T14:44:21.564" v="447" actId="478"/>
            <ac:spMkLst>
              <pc:docMk/>
              <pc:sldMasterMk cId="1123453602" sldId="2147483754"/>
              <pc:sldLayoutMk cId="2174020729" sldId="2147483768"/>
              <ac:spMk id="4" creationId="{0B1FA263-CFC7-41D8-9807-B76D129C0D7C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4:17.685" v="445"/>
            <ac:spMkLst>
              <pc:docMk/>
              <pc:sldMasterMk cId="1123453602" sldId="2147483754"/>
              <pc:sldLayoutMk cId="2174020729" sldId="2147483768"/>
              <ac:spMk id="5" creationId="{069083F1-911A-44E6-B6B5-34ABA9B5AE0C}"/>
            </ac:spMkLst>
          </pc:spChg>
        </pc:sldLayoutChg>
        <pc:sldLayoutChg chg="addSp delSp modSp mod">
          <pc:chgData name="Deshpande, Mayuri (T RDA FOA PAE-US)" userId="307bd999-17dd-4997-b1e2-139127ad27ac" providerId="ADAL" clId="{179BC8E9-6240-4755-8B11-A9D10960E425}" dt="2021-04-19T14:44:27.849" v="449" actId="478"/>
          <pc:sldLayoutMkLst>
            <pc:docMk/>
            <pc:sldMasterMk cId="1123453602" sldId="2147483754"/>
            <pc:sldLayoutMk cId="1779717212" sldId="2147483769"/>
          </pc:sldLayoutMkLst>
          <pc:spChg chg="add del mod">
            <ac:chgData name="Deshpande, Mayuri (T RDA FOA PAE-US)" userId="307bd999-17dd-4997-b1e2-139127ad27ac" providerId="ADAL" clId="{179BC8E9-6240-4755-8B11-A9D10960E425}" dt="2021-04-19T14:44:27.849" v="449" actId="478"/>
            <ac:spMkLst>
              <pc:docMk/>
              <pc:sldMasterMk cId="1123453602" sldId="2147483754"/>
              <pc:sldLayoutMk cId="1779717212" sldId="2147483769"/>
              <ac:spMk id="5" creationId="{28DA9ACB-111D-4708-B3AB-C92137BBB6C5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4:24.804" v="448"/>
            <ac:spMkLst>
              <pc:docMk/>
              <pc:sldMasterMk cId="1123453602" sldId="2147483754"/>
              <pc:sldLayoutMk cId="1779717212" sldId="2147483769"/>
              <ac:spMk id="6" creationId="{48827C19-CF6A-422C-A03A-93123FF9F725}"/>
            </ac:spMkLst>
          </pc:spChg>
        </pc:sldLayoutChg>
        <pc:sldLayoutChg chg="addSp delSp modSp mod">
          <pc:chgData name="Deshpande, Mayuri (T RDA FOA PAE-US)" userId="307bd999-17dd-4997-b1e2-139127ad27ac" providerId="ADAL" clId="{179BC8E9-6240-4755-8B11-A9D10960E425}" dt="2021-04-19T14:44:38.503" v="451" actId="478"/>
          <pc:sldLayoutMkLst>
            <pc:docMk/>
            <pc:sldMasterMk cId="1123453602" sldId="2147483754"/>
            <pc:sldLayoutMk cId="702316117" sldId="2147483770"/>
          </pc:sldLayoutMkLst>
          <pc:spChg chg="add del mod">
            <ac:chgData name="Deshpande, Mayuri (T RDA FOA PAE-US)" userId="307bd999-17dd-4997-b1e2-139127ad27ac" providerId="ADAL" clId="{179BC8E9-6240-4755-8B11-A9D10960E425}" dt="2021-04-19T14:44:38.503" v="451" actId="478"/>
            <ac:spMkLst>
              <pc:docMk/>
              <pc:sldMasterMk cId="1123453602" sldId="2147483754"/>
              <pc:sldLayoutMk cId="702316117" sldId="2147483770"/>
              <ac:spMk id="6" creationId="{BC8DB43C-1647-416A-BA8C-EDD6C3408CFF}"/>
            </ac:spMkLst>
          </pc:spChg>
          <pc:spChg chg="add mod">
            <ac:chgData name="Deshpande, Mayuri (T RDA FOA PAE-US)" userId="307bd999-17dd-4997-b1e2-139127ad27ac" providerId="ADAL" clId="{179BC8E9-6240-4755-8B11-A9D10960E425}" dt="2021-04-19T14:44:35.293" v="450"/>
            <ac:spMkLst>
              <pc:docMk/>
              <pc:sldMasterMk cId="1123453602" sldId="2147483754"/>
              <pc:sldLayoutMk cId="702316117" sldId="2147483770"/>
              <ac:spMk id="7" creationId="{334022A9-89AE-4C33-8736-A77DCF5038B0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4:46.501" v="452"/>
          <pc:sldLayoutMkLst>
            <pc:docMk/>
            <pc:sldMasterMk cId="1123453602" sldId="2147483754"/>
            <pc:sldLayoutMk cId="934376712" sldId="2147483771"/>
          </pc:sldLayoutMkLst>
          <pc:spChg chg="add mod">
            <ac:chgData name="Deshpande, Mayuri (T RDA FOA PAE-US)" userId="307bd999-17dd-4997-b1e2-139127ad27ac" providerId="ADAL" clId="{179BC8E9-6240-4755-8B11-A9D10960E425}" dt="2021-04-19T14:44:46.501" v="452"/>
            <ac:spMkLst>
              <pc:docMk/>
              <pc:sldMasterMk cId="1123453602" sldId="2147483754"/>
              <pc:sldLayoutMk cId="934376712" sldId="2147483771"/>
              <ac:spMk id="7" creationId="{2F20E2F2-A044-41C8-8FC3-A308E6FEFE4C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4:48.124" v="453"/>
          <pc:sldLayoutMkLst>
            <pc:docMk/>
            <pc:sldMasterMk cId="1123453602" sldId="2147483754"/>
            <pc:sldLayoutMk cId="4249681073" sldId="2147483772"/>
          </pc:sldLayoutMkLst>
          <pc:spChg chg="add mod">
            <ac:chgData name="Deshpande, Mayuri (T RDA FOA PAE-US)" userId="307bd999-17dd-4997-b1e2-139127ad27ac" providerId="ADAL" clId="{179BC8E9-6240-4755-8B11-A9D10960E425}" dt="2021-04-19T14:44:48.124" v="453"/>
            <ac:spMkLst>
              <pc:docMk/>
              <pc:sldMasterMk cId="1123453602" sldId="2147483754"/>
              <pc:sldLayoutMk cId="4249681073" sldId="2147483772"/>
              <ac:spMk id="7" creationId="{A9D87CA2-FCCD-4272-A457-6397D6C15879}"/>
            </ac:spMkLst>
          </pc:spChg>
        </pc:sldLayoutChg>
        <pc:sldLayoutChg chg="addSp modSp mod">
          <pc:chgData name="Deshpande, Mayuri (T RDA FOA PAE-US)" userId="307bd999-17dd-4997-b1e2-139127ad27ac" providerId="ADAL" clId="{179BC8E9-6240-4755-8B11-A9D10960E425}" dt="2021-04-19T14:44:52.113" v="456" actId="1035"/>
          <pc:sldLayoutMkLst>
            <pc:docMk/>
            <pc:sldMasterMk cId="1123453602" sldId="2147483754"/>
            <pc:sldLayoutMk cId="244410652" sldId="2147483773"/>
          </pc:sldLayoutMkLst>
          <pc:spChg chg="add mod">
            <ac:chgData name="Deshpande, Mayuri (T RDA FOA PAE-US)" userId="307bd999-17dd-4997-b1e2-139127ad27ac" providerId="ADAL" clId="{179BC8E9-6240-4755-8B11-A9D10960E425}" dt="2021-04-19T14:44:52.113" v="456" actId="1035"/>
            <ac:spMkLst>
              <pc:docMk/>
              <pc:sldMasterMk cId="1123453602" sldId="2147483754"/>
              <pc:sldLayoutMk cId="244410652" sldId="2147483773"/>
              <ac:spMk id="5" creationId="{6A1B812F-4819-46B6-8BC9-36287D3E3F96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4:53.981" v="457"/>
          <pc:sldLayoutMkLst>
            <pc:docMk/>
            <pc:sldMasterMk cId="1123453602" sldId="2147483754"/>
            <pc:sldLayoutMk cId="1524252938" sldId="2147483774"/>
          </pc:sldLayoutMkLst>
          <pc:spChg chg="add mod">
            <ac:chgData name="Deshpande, Mayuri (T RDA FOA PAE-US)" userId="307bd999-17dd-4997-b1e2-139127ad27ac" providerId="ADAL" clId="{179BC8E9-6240-4755-8B11-A9D10960E425}" dt="2021-04-19T14:44:53.981" v="457"/>
            <ac:spMkLst>
              <pc:docMk/>
              <pc:sldMasterMk cId="1123453602" sldId="2147483754"/>
              <pc:sldLayoutMk cId="1524252938" sldId="2147483774"/>
              <ac:spMk id="6" creationId="{EEF66480-0A79-4D39-9735-B5AC5DF0F1C0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4:55.835" v="458"/>
          <pc:sldLayoutMkLst>
            <pc:docMk/>
            <pc:sldMasterMk cId="1123453602" sldId="2147483754"/>
            <pc:sldLayoutMk cId="217123266" sldId="2147483775"/>
          </pc:sldLayoutMkLst>
          <pc:spChg chg="add mod">
            <ac:chgData name="Deshpande, Mayuri (T RDA FOA PAE-US)" userId="307bd999-17dd-4997-b1e2-139127ad27ac" providerId="ADAL" clId="{179BC8E9-6240-4755-8B11-A9D10960E425}" dt="2021-04-19T14:44:55.835" v="458"/>
            <ac:spMkLst>
              <pc:docMk/>
              <pc:sldMasterMk cId="1123453602" sldId="2147483754"/>
              <pc:sldLayoutMk cId="217123266" sldId="2147483775"/>
              <ac:spMk id="8" creationId="{EE44CCCF-8AEC-4DB9-8B4F-6C8548686BB5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4:57.449" v="459"/>
          <pc:sldLayoutMkLst>
            <pc:docMk/>
            <pc:sldMasterMk cId="1123453602" sldId="2147483754"/>
            <pc:sldLayoutMk cId="3906214493" sldId="2147483776"/>
          </pc:sldLayoutMkLst>
          <pc:spChg chg="add mod">
            <ac:chgData name="Deshpande, Mayuri (T RDA FOA PAE-US)" userId="307bd999-17dd-4997-b1e2-139127ad27ac" providerId="ADAL" clId="{179BC8E9-6240-4755-8B11-A9D10960E425}" dt="2021-04-19T14:44:57.449" v="459"/>
            <ac:spMkLst>
              <pc:docMk/>
              <pc:sldMasterMk cId="1123453602" sldId="2147483754"/>
              <pc:sldLayoutMk cId="3906214493" sldId="2147483776"/>
              <ac:spMk id="4" creationId="{F97CE24F-11BE-4FBA-AE56-BCF599B1413A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4:58.769" v="460"/>
          <pc:sldLayoutMkLst>
            <pc:docMk/>
            <pc:sldMasterMk cId="1123453602" sldId="2147483754"/>
            <pc:sldLayoutMk cId="3730623027" sldId="2147483777"/>
          </pc:sldLayoutMkLst>
          <pc:spChg chg="add mod">
            <ac:chgData name="Deshpande, Mayuri (T RDA FOA PAE-US)" userId="307bd999-17dd-4997-b1e2-139127ad27ac" providerId="ADAL" clId="{179BC8E9-6240-4755-8B11-A9D10960E425}" dt="2021-04-19T14:44:58.769" v="460"/>
            <ac:spMkLst>
              <pc:docMk/>
              <pc:sldMasterMk cId="1123453602" sldId="2147483754"/>
              <pc:sldLayoutMk cId="3730623027" sldId="2147483777"/>
              <ac:spMk id="6" creationId="{9F192D59-84C0-403B-AE20-46210B6538C7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5:00.094" v="461"/>
          <pc:sldLayoutMkLst>
            <pc:docMk/>
            <pc:sldMasterMk cId="1123453602" sldId="2147483754"/>
            <pc:sldLayoutMk cId="851440036" sldId="2147483778"/>
          </pc:sldLayoutMkLst>
          <pc:spChg chg="add mod">
            <ac:chgData name="Deshpande, Mayuri (T RDA FOA PAE-US)" userId="307bd999-17dd-4997-b1e2-139127ad27ac" providerId="ADAL" clId="{179BC8E9-6240-4755-8B11-A9D10960E425}" dt="2021-04-19T14:45:00.094" v="461"/>
            <ac:spMkLst>
              <pc:docMk/>
              <pc:sldMasterMk cId="1123453602" sldId="2147483754"/>
              <pc:sldLayoutMk cId="851440036" sldId="2147483778"/>
              <ac:spMk id="5" creationId="{3D214EF1-5147-4588-96C8-FEFC4ACF27A3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5:09.118" v="462"/>
          <pc:sldLayoutMkLst>
            <pc:docMk/>
            <pc:sldMasterMk cId="1123453602" sldId="2147483754"/>
            <pc:sldLayoutMk cId="1134718141" sldId="2147483779"/>
          </pc:sldLayoutMkLst>
          <pc:spChg chg="add mod">
            <ac:chgData name="Deshpande, Mayuri (T RDA FOA PAE-US)" userId="307bd999-17dd-4997-b1e2-139127ad27ac" providerId="ADAL" clId="{179BC8E9-6240-4755-8B11-A9D10960E425}" dt="2021-04-19T14:45:09.118" v="462"/>
            <ac:spMkLst>
              <pc:docMk/>
              <pc:sldMasterMk cId="1123453602" sldId="2147483754"/>
              <pc:sldLayoutMk cId="1134718141" sldId="2147483779"/>
              <ac:spMk id="7" creationId="{D0C1A337-E649-4362-B937-80513E808AD4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5:11.988" v="463"/>
          <pc:sldLayoutMkLst>
            <pc:docMk/>
            <pc:sldMasterMk cId="1123453602" sldId="2147483754"/>
            <pc:sldLayoutMk cId="3615734455" sldId="2147483780"/>
          </pc:sldLayoutMkLst>
          <pc:spChg chg="add mod">
            <ac:chgData name="Deshpande, Mayuri (T RDA FOA PAE-US)" userId="307bd999-17dd-4997-b1e2-139127ad27ac" providerId="ADAL" clId="{179BC8E9-6240-4755-8B11-A9D10960E425}" dt="2021-04-19T14:45:11.988" v="463"/>
            <ac:spMkLst>
              <pc:docMk/>
              <pc:sldMasterMk cId="1123453602" sldId="2147483754"/>
              <pc:sldLayoutMk cId="3615734455" sldId="2147483780"/>
              <ac:spMk id="8" creationId="{57D9EF2A-7F7D-4BC6-9EC7-77DEC3295981}"/>
            </ac:spMkLst>
          </pc:spChg>
        </pc:sldLayoutChg>
        <pc:sldLayoutChg chg="addSp delSp modSp mod">
          <pc:chgData name="Deshpande, Mayuri (T RDA FOA PAE-US)" userId="307bd999-17dd-4997-b1e2-139127ad27ac" providerId="ADAL" clId="{179BC8E9-6240-4755-8B11-A9D10960E425}" dt="2021-04-19T14:45:23.056" v="468" actId="1035"/>
          <pc:sldLayoutMkLst>
            <pc:docMk/>
            <pc:sldMasterMk cId="1123453602" sldId="2147483754"/>
            <pc:sldLayoutMk cId="351008544" sldId="2147483781"/>
          </pc:sldLayoutMkLst>
          <pc:spChg chg="add mod">
            <ac:chgData name="Deshpande, Mayuri (T RDA FOA PAE-US)" userId="307bd999-17dd-4997-b1e2-139127ad27ac" providerId="ADAL" clId="{179BC8E9-6240-4755-8B11-A9D10960E425}" dt="2021-04-19T14:45:23.056" v="468" actId="1035"/>
            <ac:spMkLst>
              <pc:docMk/>
              <pc:sldMasterMk cId="1123453602" sldId="2147483754"/>
              <pc:sldLayoutMk cId="351008544" sldId="2147483781"/>
              <ac:spMk id="7" creationId="{0CF3B0D0-EEBD-40EA-B853-F034F677A4A6}"/>
            </ac:spMkLst>
          </pc:spChg>
          <pc:spChg chg="add del mod">
            <ac:chgData name="Deshpande, Mayuri (T RDA FOA PAE-US)" userId="307bd999-17dd-4997-b1e2-139127ad27ac" providerId="ADAL" clId="{179BC8E9-6240-4755-8B11-A9D10960E425}" dt="2021-04-19T14:45:22.665" v="467"/>
            <ac:spMkLst>
              <pc:docMk/>
              <pc:sldMasterMk cId="1123453602" sldId="2147483754"/>
              <pc:sldLayoutMk cId="351008544" sldId="2147483781"/>
              <ac:spMk id="8" creationId="{F61455C9-75F2-403F-A0CF-2FBC9D41B106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5:25.450" v="469"/>
          <pc:sldLayoutMkLst>
            <pc:docMk/>
            <pc:sldMasterMk cId="1123453602" sldId="2147483754"/>
            <pc:sldLayoutMk cId="986914165" sldId="2147483782"/>
          </pc:sldLayoutMkLst>
          <pc:spChg chg="add mod">
            <ac:chgData name="Deshpande, Mayuri (T RDA FOA PAE-US)" userId="307bd999-17dd-4997-b1e2-139127ad27ac" providerId="ADAL" clId="{179BC8E9-6240-4755-8B11-A9D10960E425}" dt="2021-04-19T14:45:25.450" v="469"/>
            <ac:spMkLst>
              <pc:docMk/>
              <pc:sldMasterMk cId="1123453602" sldId="2147483754"/>
              <pc:sldLayoutMk cId="986914165" sldId="2147483782"/>
              <ac:spMk id="8" creationId="{740911DF-6991-4693-BB4B-7DE450DED708}"/>
            </ac:spMkLst>
          </pc:spChg>
        </pc:sldLayoutChg>
        <pc:sldLayoutChg chg="addSp modSp">
          <pc:chgData name="Deshpande, Mayuri (T RDA FOA PAE-US)" userId="307bd999-17dd-4997-b1e2-139127ad27ac" providerId="ADAL" clId="{179BC8E9-6240-4755-8B11-A9D10960E425}" dt="2021-04-19T14:45:28.203" v="470"/>
          <pc:sldLayoutMkLst>
            <pc:docMk/>
            <pc:sldMasterMk cId="1123453602" sldId="2147483754"/>
            <pc:sldLayoutMk cId="3976021895" sldId="2147483783"/>
          </pc:sldLayoutMkLst>
          <pc:spChg chg="add mod">
            <ac:chgData name="Deshpande, Mayuri (T RDA FOA PAE-US)" userId="307bd999-17dd-4997-b1e2-139127ad27ac" providerId="ADAL" clId="{179BC8E9-6240-4755-8B11-A9D10960E425}" dt="2021-04-19T14:45:28.203" v="470"/>
            <ac:spMkLst>
              <pc:docMk/>
              <pc:sldMasterMk cId="1123453602" sldId="2147483754"/>
              <pc:sldLayoutMk cId="3976021895" sldId="2147483783"/>
              <ac:spMk id="5" creationId="{B4C49649-BA4F-472B-AB0C-7430FE307DC2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8/13/2021</a:t>
            </a:fld>
            <a:endParaRPr lang="en-US" sz="105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</a:rPr>
              <a:t>Hand out</a:t>
            </a:r>
            <a:r>
              <a:rPr lang="en-US" sz="105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8/12/2021</a:t>
            </a:fld>
            <a:endParaRPr lang="en-US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1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31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3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customXml" Target="../../customXml/item5.x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9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61.xml"/><Relationship Id="rId7" Type="http://schemas.openxmlformats.org/officeDocument/2006/relationships/oleObject" Target="../embeddings/oleObject4.bin"/><Relationship Id="rId2" Type="http://schemas.openxmlformats.org/officeDocument/2006/relationships/tags" Target="../tags/tag60.xml"/><Relationship Id="rId1" Type="http://schemas.openxmlformats.org/officeDocument/2006/relationships/customXml" Target="../../customXml/item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customXml" Target="../../customXml/item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customXml" Target="../../customXml/item10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customXml" Target="../../customXml/item11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4" Type="http://schemas.openxmlformats.org/officeDocument/2006/relationships/tags" Target="../tags/tag8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customXml" Target="../../customXml/item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customXml" Target="../../customXml/item1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customXml" Target="../../customXml/item1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customXml" Target="../../customXml/item16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customXml" Target="../../customXml/item1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customXml" Target="../../customXml/item18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| © Siemens 2021 | Mayuri Deshpande | T RDA FOA PAE US| 2021-08-13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0" y="6323437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0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48122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© Siemens 2021 | Mayuri Deshpande | T RDA FOA PAE US | 2021-08-13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0" y="6304776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38791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Confidential | © Siemens 2021 | Mayuri | T RDA FOA PAE-US | 2021-04-27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228576"/>
              </p:ext>
            </p:ext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0" name="Grafik 5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2"/>
            </p:custDataLst>
          </p:nvPr>
        </p:nvSpPr>
        <p:spPr bwMode="ltGray">
          <a:xfrm>
            <a:off x="626736" y="4139291"/>
            <a:ext cx="6476627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9076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907600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/>
              <a:t>Please insert Internity note</a:t>
            </a:r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994071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139931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9076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907600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/>
              <a:t>Please insert Internity note</a:t>
            </a: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1116871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rafik 5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569036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8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29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0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329760993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6736" y="4569350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grpSp>
        <p:nvGrpSpPr>
          <p:cNvPr id="80" name="Gruppieren 79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1" name="Gerade Verbindung 80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4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5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6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7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8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9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0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1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2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3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4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5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6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7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8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9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0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1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2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3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4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51814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626736" y="45693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1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2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3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4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9385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626736" y="45693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20320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6571" y="1439999"/>
            <a:ext cx="7535429" cy="4752000"/>
          </a:xfrm>
          <a:solidFill>
            <a:srgbClr val="DFE6E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/>
              <a:t>Click to edit the toc / contact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active chapter</a:t>
            </a:r>
          </a:p>
          <a:p>
            <a:pPr lvl="3"/>
            <a:r>
              <a:rPr lang="en-US" noProof="0"/>
              <a:t>subchapter</a:t>
            </a:r>
          </a:p>
          <a:p>
            <a:pPr lvl="4"/>
            <a:r>
              <a:rPr lang="en-US" noProof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8B225346-5622-4621-8873-4653A8D5CA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45543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26737" y="1443038"/>
            <a:ext cx="3885890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auto">
          <a:xfrm>
            <a:off x="4656570" y="1440000"/>
            <a:ext cx="7535430" cy="4752000"/>
          </a:xfrm>
          <a:solidFill>
            <a:srgbClr val="DFE6E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/>
              <a:t>Click to edit the toc/contact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active chapter</a:t>
            </a:r>
          </a:p>
          <a:p>
            <a:pPr lvl="3"/>
            <a:r>
              <a:rPr lang="en-US" noProof="0"/>
              <a:t>subchapter</a:t>
            </a:r>
          </a:p>
          <a:p>
            <a:pPr lvl="4"/>
            <a:r>
              <a:rPr lang="en-US" noProof="0"/>
              <a:t>active subchapter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32B8D22D-D2B2-4AAA-85FB-CF753B7E76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23641226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0246113"/>
              </p:ext>
            </p:ext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81A73722-BAB1-4A3C-808B-9408D9971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275261838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197647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9290387B-1F29-4AB3-B2D5-14BC6E1A1C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98807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"/>
            <a:ext cx="1219200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43871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7" name="Gerade Verbindung 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9" name="Footer Placeholder">
            <a:extLst>
              <a:ext uri="{FF2B5EF4-FFF2-40B4-BE49-F238E27FC236}">
                <a16:creationId xmlns:a16="http://schemas.microsoft.com/office/drawing/2014/main" id="{14AFBDE2-4DD1-451A-B0A6-225CC86A66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20131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0 | Mayuri Deshpande | T RDA FOA PAE-US | 2021 April</a:t>
            </a:r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94D6C658-CD3F-4FDC-BE83-44AF06F69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57454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0568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53760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1"/>
            <a:ext cx="1219200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" name="Gerade Verbindung 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" name="Gerade Verbindung 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395828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736" y="1443038"/>
            <a:ext cx="8204689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069083F1-911A-44E6-B6B5-34ABA9B5A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21740207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7002472"/>
              </p:ext>
            </p:ext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6736" y="1443038"/>
            <a:ext cx="6764477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8827C19-CF6A-422C-A03A-93123FF9F7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779717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626737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4"/>
            </p:custDataLst>
          </p:nvPr>
        </p:nvSpPr>
        <p:spPr>
          <a:xfrm>
            <a:off x="6240388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334022A9-89AE-4C33-8736-A77DCF5038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7023161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6737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4400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880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F20E2F2-A044-41C8-8FC3-A308E6FEFE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43767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6736" y="1440000"/>
            <a:ext cx="5900927" cy="4752000"/>
          </a:xfrm>
          <a:solidFill>
            <a:srgbClr val="DFE6ED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7460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880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A9D87CA2-FCCD-4272-A457-6397D6C158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968107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736" y="1443038"/>
            <a:ext cx="8204689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6736" y="3888000"/>
            <a:ext cx="8204689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A1B812F-4819-46B6-8BC9-36287D3E3F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2444106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736" y="1443038"/>
            <a:ext cx="3598576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68113" y="1443038"/>
            <a:ext cx="3598126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1525" y="1443038"/>
            <a:ext cx="3598126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EF66480-0A79-4D39-9735-B5AC5DF0F1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5242529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626737" y="1443038"/>
            <a:ext cx="5469263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6240388" y="1443038"/>
            <a:ext cx="5469263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626737" y="38880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6"/>
            </p:custDataLst>
          </p:nvPr>
        </p:nvSpPr>
        <p:spPr>
          <a:xfrm>
            <a:off x="6240388" y="38880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EE44CCCF-8AEC-4DB9-8B4F-6C8548686B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2171232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97CE24F-11BE-4FBA-AE56-BCF599B14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39062144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9F192D59-84C0-403B-AE20-46210B6538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306230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6764477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3D214EF1-5147-4588-96C8-FEFC4ACF2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8514400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7" y="1443038"/>
            <a:ext cx="4029901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1524" y="1443038"/>
            <a:ext cx="4029901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0C1A337-E649-4362-B937-80513E808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34718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2590651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0650" y="1443038"/>
            <a:ext cx="2735350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0388" y="1443038"/>
            <a:ext cx="2591038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57D9EF2A-7F7D-4BC6-9EC7-77DEC32959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61573445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6736" y="3888000"/>
            <a:ext cx="8204689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0CF3B0D0-EEBD-40EA-B853-F034F677A4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5100854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7" y="1443038"/>
            <a:ext cx="4029901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1523" y="1443038"/>
            <a:ext cx="4029901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6737" y="3888000"/>
            <a:ext cx="4029901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1524" y="3888000"/>
            <a:ext cx="4029901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740911DF-6991-4693-BB4B-7DE450DED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9869141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6571" y="1440000"/>
            <a:ext cx="7535429" cy="4752000"/>
          </a:xfrm>
          <a:solidFill>
            <a:srgbClr val="DFE6E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/>
              <a:t>Click to edit the toc/contact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active chapter</a:t>
            </a:r>
          </a:p>
          <a:p>
            <a:pPr lvl="3"/>
            <a:r>
              <a:rPr lang="en-US" noProof="0"/>
              <a:t>subchapter</a:t>
            </a:r>
          </a:p>
          <a:p>
            <a:pPr lvl="4"/>
            <a:r>
              <a:rPr lang="en-US" noProof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4C49649-BA4F-472B-AB0C-7430FE307D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6021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75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59" Type="http://schemas.openxmlformats.org/officeDocument/2006/relationships/image" Target="../media/image30.emf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41" Type="http://schemas.openxmlformats.org/officeDocument/2006/relationships/tags" Target="../tags/tag12.xml"/><Relationship Id="rId54" Type="http://schemas.openxmlformats.org/officeDocument/2006/relationships/tags" Target="../tags/tag25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3" Type="http://schemas.openxmlformats.org/officeDocument/2006/relationships/tags" Target="../tags/tag24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57" Type="http://schemas.openxmlformats.org/officeDocument/2006/relationships/tags" Target="../tags/tag28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52" Type="http://schemas.openxmlformats.org/officeDocument/2006/relationships/tags" Target="../tags/tag2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theme" Target="../theme/theme2.x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56" Type="http://schemas.openxmlformats.org/officeDocument/2006/relationships/tags" Target="../tags/tag27.xml"/><Relationship Id="rId8" Type="http://schemas.openxmlformats.org/officeDocument/2006/relationships/slideLayout" Target="../slideLayouts/slideLayout62.xml"/><Relationship Id="rId51" Type="http://schemas.openxmlformats.org/officeDocument/2006/relationships/tags" Target="../tags/tag22.xml"/><Relationship Id="rId3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© Siemens 2021 | Mayuri Deshpande | T RDA FOA PAE-US | 2021-04-19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5425ABEA-DDEA-47D9-A706-53A175FCB353}"/>
              </a:ext>
            </a:extLst>
          </p:cNvPr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58530279"/>
              </p:ext>
            </p:ext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8" imgW="270" imgH="270" progId="TCLayout.ActiveDocument.1">
                  <p:embed/>
                </p:oleObj>
              </mc:Choice>
              <mc:Fallback>
                <p:oleObj name="think-cell Folie" r:id="rId58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3"/>
            </p:custDataLst>
          </p:nvPr>
        </p:nvSpPr>
        <p:spPr bwMode="auto">
          <a:xfrm>
            <a:off x="0" y="-1"/>
            <a:ext cx="1219200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4"/>
            </p:custDataLst>
          </p:nvPr>
        </p:nvSpPr>
        <p:spPr bwMode="auto">
          <a:xfrm>
            <a:off x="626736" y="1443038"/>
            <a:ext cx="8204689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7" name="Gruppieren 66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5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56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7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8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59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60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61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62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0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1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2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3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4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5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6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7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8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99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0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1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2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3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4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5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6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7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8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  <p:sp>
          <p:nvSpPr>
            <p:cNvPr id="109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/>
            </a:p>
          </p:txBody>
        </p:sp>
      </p:grpSp>
      <p:sp>
        <p:nvSpPr>
          <p:cNvPr id="110" name="Footer Placeholder">
            <a:extLst>
              <a:ext uri="{FF2B5EF4-FFF2-40B4-BE49-F238E27FC236}">
                <a16:creationId xmlns:a16="http://schemas.microsoft.com/office/drawing/2014/main" id="{E52F8570-8DB1-4A4E-89E9-59E5A3F6BE7E}"/>
              </a:ext>
            </a:extLst>
          </p:cNvPr>
          <p:cNvSpPr txBox="1">
            <a:spLocks/>
          </p:cNvSpPr>
          <p:nvPr userDrawn="1"/>
        </p:nvSpPr>
        <p:spPr>
          <a:xfrm>
            <a:off x="1059160" y="636076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Restricted | © Siemens 2021 | Mayuri Deshpande | T RDA FOA PAE-US | 2021-04-19</a:t>
            </a:r>
          </a:p>
        </p:txBody>
      </p:sp>
      <p:sp>
        <p:nvSpPr>
          <p:cNvPr id="112" name="Slide Number Placeholder">
            <a:extLst>
              <a:ext uri="{FF2B5EF4-FFF2-40B4-BE49-F238E27FC236}">
                <a16:creationId xmlns:a16="http://schemas.microsoft.com/office/drawing/2014/main" id="{1F241217-5BE0-4B15-8515-97874FC2C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48123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31"/>
    </p:custDataLst>
    <p:extLst>
      <p:ext uri="{BB962C8B-B14F-4D97-AF65-F5344CB8AC3E}">
        <p14:creationId xmlns:p14="http://schemas.microsoft.com/office/powerpoint/2010/main" val="1123453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  <p:sldLayoutId id="2147483779" r:id="rId25"/>
    <p:sldLayoutId id="2147483780" r:id="rId26"/>
    <p:sldLayoutId id="2147483781" r:id="rId27"/>
    <p:sldLayoutId id="2147483782" r:id="rId28"/>
    <p:sldLayoutId id="2147483783" r:id="rId2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991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991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991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640" indent="-17991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03F5A-A39F-4AC0-8800-3953C9A32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4"/>
            <a:ext cx="11376788" cy="1354217"/>
          </a:xfrm>
        </p:spPr>
        <p:txBody>
          <a:bodyPr/>
          <a:lstStyle/>
          <a:p>
            <a:r>
              <a:rPr lang="en-US" sz="44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utomated Testing in Production Planning in Test based Engineering</a:t>
            </a:r>
            <a:endParaRPr lang="en-US" sz="239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D99E0C-5C36-40BC-A4C0-734D5DE8589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Hackathon 2021 Problem </a:t>
            </a:r>
            <a:r>
              <a:rPr lang="en-US" dirty="0"/>
              <a:t>State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D4B1CA-70E5-41E6-AFDB-B8544B74143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29654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Confidential | © Siemens 2021 | Mayuri Deshpande | T RDA FOA PAE-US | 2021-04-19</a:t>
            </a:r>
          </a:p>
        </p:txBody>
      </p:sp>
    </p:spTree>
    <p:extLst>
      <p:ext uri="{BB962C8B-B14F-4D97-AF65-F5344CB8AC3E}">
        <p14:creationId xmlns:p14="http://schemas.microsoft.com/office/powerpoint/2010/main" val="18944076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79736-8E21-4A75-8BA0-A9F8DC503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H) EV </a:t>
            </a:r>
            <a:r>
              <a:rPr lang="en-US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owertrain Component categories 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08D116-F8D0-4186-9564-E1DD6DC362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© Siemens 20XX | Author | Department | YYYY-MM-D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F55943-4C26-46DA-A1CA-F415A3032A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5" name="Picture 4" descr="(H)EV Powertrain Testing">
            <a:extLst>
              <a:ext uri="{FF2B5EF4-FFF2-40B4-BE49-F238E27FC236}">
                <a16:creationId xmlns:a16="http://schemas.microsoft.com/office/drawing/2014/main" id="{92D4F4D9-C293-4002-830D-5B01DB21645A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004" y="1396615"/>
            <a:ext cx="4671391" cy="2516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 descr="automotive chassis with engine and powertrain sensor module">
            <a:extLst>
              <a:ext uri="{FF2B5EF4-FFF2-40B4-BE49-F238E27FC236}">
                <a16:creationId xmlns:a16="http://schemas.microsoft.com/office/drawing/2014/main" id="{BF142B39-3801-4C3F-B013-895F34F556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25" y="1616712"/>
            <a:ext cx="1836048" cy="1032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ilver automotive engine for powertrain systems">
            <a:extLst>
              <a:ext uri="{FF2B5EF4-FFF2-40B4-BE49-F238E27FC236}">
                <a16:creationId xmlns:a16="http://schemas.microsoft.com/office/drawing/2014/main" id="{BF396128-E323-42CE-AE0D-069F2C535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6884" y="1468107"/>
            <a:ext cx="2059607" cy="1158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ilver automotive transmission cutaway for powertrain systems">
            <a:extLst>
              <a:ext uri="{FF2B5EF4-FFF2-40B4-BE49-F238E27FC236}">
                <a16:creationId xmlns:a16="http://schemas.microsoft.com/office/drawing/2014/main" id="{79D9BD30-7782-437B-8359-F94699D8D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0" y="4118394"/>
            <a:ext cx="2059608" cy="1158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utomotive power steering shaft">
            <a:extLst>
              <a:ext uri="{FF2B5EF4-FFF2-40B4-BE49-F238E27FC236}">
                <a16:creationId xmlns:a16="http://schemas.microsoft.com/office/drawing/2014/main" id="{04251E48-3A8A-4B64-A804-4AD92FCD1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746" y="4070523"/>
            <a:ext cx="1891748" cy="1064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BC4F1DC-76BC-4F4A-BC3E-D336C95C9FE9}"/>
              </a:ext>
            </a:extLst>
          </p:cNvPr>
          <p:cNvSpPr txBox="1"/>
          <p:nvPr/>
        </p:nvSpPr>
        <p:spPr>
          <a:xfrm>
            <a:off x="640525" y="2580449"/>
            <a:ext cx="231084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dirty="0">
                <a:effectLst/>
              </a:rPr>
              <a:t>Powertrain sensors</a:t>
            </a:r>
          </a:p>
          <a:p>
            <a:pPr algn="l"/>
            <a:r>
              <a:rPr lang="en-US" sz="1200" b="0" i="0" u="none" strike="noStrike" dirty="0">
                <a:effectLst/>
              </a:rPr>
              <a:t>Powertrain current sensors</a:t>
            </a:r>
            <a:endParaRPr lang="en-US" sz="1200" b="0" i="0" dirty="0">
              <a:effectLst/>
            </a:endParaRPr>
          </a:p>
          <a:p>
            <a:pPr algn="l"/>
            <a:r>
              <a:rPr lang="en-US" sz="1200" b="0" i="0" u="none" strike="noStrike" dirty="0">
                <a:effectLst/>
              </a:rPr>
              <a:t>Powertrain exhaust sensors</a:t>
            </a:r>
            <a:endParaRPr lang="en-US" sz="1200" b="0" i="0" dirty="0">
              <a:effectLst/>
            </a:endParaRPr>
          </a:p>
          <a:p>
            <a:pPr algn="l"/>
            <a:r>
              <a:rPr lang="en-US" sz="1200" b="0" i="0" u="none" strike="noStrike" dirty="0">
                <a:effectLst/>
              </a:rPr>
              <a:t>Powertrain fluid concentration sensors</a:t>
            </a:r>
            <a:endParaRPr lang="en-US" sz="1200" b="0" i="0" dirty="0">
              <a:effectLst/>
            </a:endParaRPr>
          </a:p>
          <a:p>
            <a:pPr algn="l"/>
            <a:r>
              <a:rPr lang="en-US" sz="1200" b="0" i="0" u="none" strike="noStrike" dirty="0">
                <a:effectLst/>
              </a:rPr>
              <a:t>Powertrain knock sensors</a:t>
            </a:r>
            <a:endParaRPr lang="en-US" sz="1200" b="0" i="0" dirty="0">
              <a:effectLst/>
            </a:endParaRPr>
          </a:p>
          <a:p>
            <a:pPr algn="l"/>
            <a:r>
              <a:rPr lang="en-US" sz="1200" b="0" i="0" u="none" strike="noStrike" dirty="0">
                <a:effectLst/>
              </a:rPr>
              <a:t>Powertrain position sensors</a:t>
            </a:r>
            <a:endParaRPr lang="en-US" sz="1200" b="0" i="0" dirty="0">
              <a:effectLst/>
            </a:endParaRPr>
          </a:p>
          <a:p>
            <a:pPr algn="ctr"/>
            <a:endParaRPr lang="en-US" sz="1200" b="0" i="0" dirty="0">
              <a:effectLst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8EAC21-5D44-436B-9462-44D035EACD09}"/>
              </a:ext>
            </a:extLst>
          </p:cNvPr>
          <p:cNvSpPr txBox="1"/>
          <p:nvPr/>
        </p:nvSpPr>
        <p:spPr>
          <a:xfrm>
            <a:off x="4366592" y="2626636"/>
            <a:ext cx="246490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dirty="0">
                <a:effectLst/>
              </a:rPr>
              <a:t>Engine</a:t>
            </a:r>
          </a:p>
          <a:p>
            <a:r>
              <a:rPr lang="en-US" sz="1200" b="0" i="0" u="none" strike="noStrike" dirty="0">
                <a:effectLst/>
              </a:rPr>
              <a:t>Diesel engine</a:t>
            </a:r>
            <a:endParaRPr lang="en-US" sz="1200" b="0" i="0" dirty="0">
              <a:effectLst/>
            </a:endParaRPr>
          </a:p>
          <a:p>
            <a:r>
              <a:rPr lang="en-US" sz="1200" b="0" i="0" u="none" strike="noStrike" dirty="0">
                <a:effectLst/>
              </a:rPr>
              <a:t>Engine fan</a:t>
            </a:r>
            <a:endParaRPr lang="en-US" sz="1200" b="0" i="0" dirty="0">
              <a:effectLst/>
            </a:endParaRPr>
          </a:p>
          <a:p>
            <a:r>
              <a:rPr lang="en-US" sz="1200" b="0" i="0" u="none" strike="noStrike" dirty="0" err="1">
                <a:solidFill>
                  <a:srgbClr val="0087BE"/>
                </a:solidFill>
                <a:effectLst/>
              </a:rPr>
              <a:t>eTurbo</a:t>
            </a:r>
            <a:r>
              <a:rPr lang="en-US" sz="1200" b="0" i="0" u="none" strike="noStrike" dirty="0">
                <a:effectLst/>
              </a:rPr>
              <a:t>/charger</a:t>
            </a:r>
            <a:endParaRPr lang="en-US" sz="1200" b="0" i="0" dirty="0">
              <a:effectLst/>
            </a:endParaRPr>
          </a:p>
          <a:p>
            <a:r>
              <a:rPr lang="en-US" sz="1200" b="0" i="0" u="none" strike="noStrike" dirty="0">
                <a:effectLst/>
              </a:rPr>
              <a:t>Gasoline &amp; diesel engine platform</a:t>
            </a:r>
            <a:endParaRPr lang="en-US" sz="1200" b="0" i="0" dirty="0">
              <a:effectLst/>
            </a:endParaRPr>
          </a:p>
          <a:p>
            <a:r>
              <a:rPr lang="en-US" sz="1200" b="0" i="0" u="none" strike="noStrike" dirty="0">
                <a:effectLst/>
              </a:rPr>
              <a:t>Gasoline engine</a:t>
            </a:r>
            <a:endParaRPr lang="en-US" sz="1200" b="0" i="0" dirty="0">
              <a:effectLst/>
            </a:endParaRPr>
          </a:p>
          <a:p>
            <a:r>
              <a:rPr lang="en-US" sz="1200" b="0" i="0" u="none" strike="noStrike" dirty="0">
                <a:effectLst/>
              </a:rPr>
              <a:t>Ignition</a:t>
            </a:r>
            <a:endParaRPr lang="en-US" sz="1200" b="0" i="0" dirty="0">
              <a:effectLst/>
            </a:endParaRPr>
          </a:p>
          <a:p>
            <a:r>
              <a:rPr lang="en-US" sz="1200" b="0" i="0" u="none" strike="noStrike" dirty="0">
                <a:effectLst/>
              </a:rPr>
              <a:t>Pump</a:t>
            </a:r>
            <a:endParaRPr lang="en-US" sz="1200" b="0" i="0" dirty="0">
              <a:effectLst/>
            </a:endParaRPr>
          </a:p>
          <a:p>
            <a:pPr algn="ctr"/>
            <a:endParaRPr lang="en-US" sz="1200" b="0" i="0" dirty="0">
              <a:effectLst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90AC88-09CF-4DC1-AD98-CD69713B5144}"/>
              </a:ext>
            </a:extLst>
          </p:cNvPr>
          <p:cNvSpPr txBox="1"/>
          <p:nvPr/>
        </p:nvSpPr>
        <p:spPr>
          <a:xfrm>
            <a:off x="640525" y="5276923"/>
            <a:ext cx="205960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dirty="0">
                <a:effectLst/>
              </a:rPr>
              <a:t>Transmission</a:t>
            </a:r>
          </a:p>
          <a:p>
            <a:r>
              <a:rPr lang="en-US" sz="1200" b="0" i="0" u="none" strike="noStrike" dirty="0">
                <a:effectLst/>
              </a:rPr>
              <a:t>Automatic transmission</a:t>
            </a:r>
            <a:endParaRPr lang="en-US" sz="1200" b="0" i="0" dirty="0">
              <a:effectLst/>
            </a:endParaRPr>
          </a:p>
          <a:p>
            <a:r>
              <a:rPr lang="en-US" sz="1200" b="0" i="0" u="none" strike="noStrike" dirty="0">
                <a:effectLst/>
              </a:rPr>
              <a:t>Drive line components</a:t>
            </a:r>
            <a:endParaRPr lang="en-US" sz="1200" b="0" i="0" dirty="0">
              <a:effectLst/>
            </a:endParaRPr>
          </a:p>
          <a:p>
            <a:r>
              <a:rPr lang="en-US" sz="1200" b="0" i="0" u="none" strike="noStrike" dirty="0">
                <a:effectLst/>
              </a:rPr>
              <a:t>Electric drive</a:t>
            </a:r>
            <a:endParaRPr lang="en-US" sz="1200" b="0" i="0" dirty="0">
              <a:effectLst/>
            </a:endParaRPr>
          </a:p>
          <a:p>
            <a:r>
              <a:rPr lang="en-US" sz="1200" b="0" i="0" u="none" strike="noStrike" dirty="0">
                <a:effectLst/>
              </a:rPr>
              <a:t>Shifter system</a:t>
            </a:r>
            <a:endParaRPr lang="en-US" sz="1200" b="0" i="0" dirty="0">
              <a:effectLst/>
            </a:endParaRPr>
          </a:p>
          <a:p>
            <a:pPr algn="ctr"/>
            <a:endParaRPr lang="en-US" sz="1200" b="0" i="0" dirty="0">
              <a:effectLst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4E17A5-17C8-4AFD-8AEE-BA4C6930ED8A}"/>
              </a:ext>
            </a:extLst>
          </p:cNvPr>
          <p:cNvSpPr txBox="1"/>
          <p:nvPr/>
        </p:nvSpPr>
        <p:spPr>
          <a:xfrm>
            <a:off x="4341746" y="5276923"/>
            <a:ext cx="205960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dirty="0">
                <a:effectLst/>
              </a:rPr>
              <a:t>Power Steering</a:t>
            </a:r>
          </a:p>
          <a:p>
            <a:r>
              <a:rPr lang="en-US" sz="1200" b="0" i="0" u="none" strike="noStrike" dirty="0">
                <a:effectLst/>
              </a:rPr>
              <a:t>Electric power steering (EPS)</a:t>
            </a:r>
            <a:endParaRPr lang="en-US" sz="1200" b="0" i="0" dirty="0">
              <a:effectLst/>
            </a:endParaRPr>
          </a:p>
          <a:p>
            <a:pPr algn="ctr"/>
            <a:endParaRPr lang="en-US" sz="1200" b="0" i="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81728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D3AD44-AACA-48F3-A0F6-AE59702A4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IDs and time taken to perform tests (* All the data is anonymou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A0D918-E1EF-47A2-9BF6-0B50ECBC77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© Siemens 20XX | Author | Department | YYYY-MM-D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E630D0-51C6-4D4E-8BFF-A07A979D2C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5" name="Picture 4" descr="silver automotive engine for powertrain systems">
            <a:extLst>
              <a:ext uri="{FF2B5EF4-FFF2-40B4-BE49-F238E27FC236}">
                <a16:creationId xmlns:a16="http://schemas.microsoft.com/office/drawing/2014/main" id="{22ED42DF-82A5-45C3-A3ED-A98489446E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675" y="1346435"/>
            <a:ext cx="3419625" cy="1923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5C7224-040C-455B-BFDF-B66DF16AEECA}"/>
              </a:ext>
            </a:extLst>
          </p:cNvPr>
          <p:cNvSpPr txBox="1"/>
          <p:nvPr/>
        </p:nvSpPr>
        <p:spPr>
          <a:xfrm>
            <a:off x="707564" y="3588027"/>
            <a:ext cx="2464904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i="0" dirty="0">
                <a:effectLst/>
              </a:rPr>
              <a:t>Engine</a:t>
            </a:r>
          </a:p>
          <a:p>
            <a:r>
              <a:rPr lang="en-US" sz="1600" b="0" i="0" u="none" strike="noStrike" dirty="0">
                <a:effectLst/>
              </a:rPr>
              <a:t>Diesel engine</a:t>
            </a:r>
            <a:endParaRPr lang="en-US" sz="1600" b="0" i="0" dirty="0">
              <a:effectLst/>
            </a:endParaRPr>
          </a:p>
          <a:p>
            <a:r>
              <a:rPr lang="en-US" sz="1600" b="0" i="0" u="none" strike="noStrike" dirty="0">
                <a:effectLst/>
              </a:rPr>
              <a:t>Engine fan</a:t>
            </a:r>
            <a:endParaRPr lang="en-US" sz="1600" b="0" i="0" dirty="0">
              <a:effectLst/>
            </a:endParaRPr>
          </a:p>
          <a:p>
            <a:r>
              <a:rPr lang="en-US" sz="1600" b="0" i="0" u="none" strike="noStrike" dirty="0" err="1">
                <a:solidFill>
                  <a:srgbClr val="0087BE"/>
                </a:solidFill>
                <a:effectLst/>
              </a:rPr>
              <a:t>eTurbo</a:t>
            </a:r>
            <a:r>
              <a:rPr lang="en-US" sz="1600" b="0" i="0" u="none" strike="noStrike" dirty="0">
                <a:effectLst/>
              </a:rPr>
              <a:t>/charger</a:t>
            </a:r>
            <a:endParaRPr lang="en-US" sz="1600" b="0" i="0" dirty="0">
              <a:effectLst/>
            </a:endParaRPr>
          </a:p>
          <a:p>
            <a:r>
              <a:rPr lang="en-US" sz="1600" b="0" i="0" u="none" strike="noStrike" dirty="0">
                <a:effectLst/>
              </a:rPr>
              <a:t>Gasoline &amp; diesel engine platform</a:t>
            </a:r>
            <a:endParaRPr lang="en-US" sz="1600" b="0" i="0" dirty="0">
              <a:effectLst/>
            </a:endParaRPr>
          </a:p>
          <a:p>
            <a:r>
              <a:rPr lang="en-US" sz="1600" b="0" i="0" u="none" strike="noStrike" dirty="0">
                <a:effectLst/>
              </a:rPr>
              <a:t>Gasoline engine</a:t>
            </a:r>
            <a:endParaRPr lang="en-US" sz="1600" b="0" i="0" dirty="0">
              <a:effectLst/>
            </a:endParaRPr>
          </a:p>
          <a:p>
            <a:r>
              <a:rPr lang="en-US" sz="1600" b="0" i="0" u="none" strike="noStrike" dirty="0">
                <a:effectLst/>
              </a:rPr>
              <a:t>Ignition</a:t>
            </a:r>
            <a:endParaRPr lang="en-US" sz="1600" b="0" i="0" dirty="0">
              <a:effectLst/>
            </a:endParaRPr>
          </a:p>
          <a:p>
            <a:r>
              <a:rPr lang="en-US" sz="1600" b="0" i="0" u="none" strike="noStrike" dirty="0">
                <a:effectLst/>
              </a:rPr>
              <a:t>Pump</a:t>
            </a:r>
            <a:endParaRPr lang="en-US" sz="1600" b="0" i="0" dirty="0">
              <a:effectLst/>
            </a:endParaRPr>
          </a:p>
          <a:p>
            <a:pPr algn="ctr"/>
            <a:endParaRPr lang="en-US" sz="1200" b="0" i="0" dirty="0">
              <a:effectLst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BA64D99-CE21-43D5-B978-2C2666BF3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425500"/>
              </p:ext>
            </p:extLst>
          </p:nvPr>
        </p:nvGraphicFramePr>
        <p:xfrm>
          <a:off x="3808909" y="2023247"/>
          <a:ext cx="7894413" cy="423498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877157">
                  <a:extLst>
                    <a:ext uri="{9D8B030D-6E8A-4147-A177-3AD203B41FA5}">
                      <a16:colId xmlns:a16="http://schemas.microsoft.com/office/drawing/2014/main" val="2787269338"/>
                    </a:ext>
                  </a:extLst>
                </a:gridCol>
                <a:gridCol w="877157">
                  <a:extLst>
                    <a:ext uri="{9D8B030D-6E8A-4147-A177-3AD203B41FA5}">
                      <a16:colId xmlns:a16="http://schemas.microsoft.com/office/drawing/2014/main" val="2715756424"/>
                    </a:ext>
                  </a:extLst>
                </a:gridCol>
                <a:gridCol w="877157">
                  <a:extLst>
                    <a:ext uri="{9D8B030D-6E8A-4147-A177-3AD203B41FA5}">
                      <a16:colId xmlns:a16="http://schemas.microsoft.com/office/drawing/2014/main" val="3930257993"/>
                    </a:ext>
                  </a:extLst>
                </a:gridCol>
                <a:gridCol w="877157">
                  <a:extLst>
                    <a:ext uri="{9D8B030D-6E8A-4147-A177-3AD203B41FA5}">
                      <a16:colId xmlns:a16="http://schemas.microsoft.com/office/drawing/2014/main" val="1312766802"/>
                    </a:ext>
                  </a:extLst>
                </a:gridCol>
                <a:gridCol w="877157">
                  <a:extLst>
                    <a:ext uri="{9D8B030D-6E8A-4147-A177-3AD203B41FA5}">
                      <a16:colId xmlns:a16="http://schemas.microsoft.com/office/drawing/2014/main" val="887478426"/>
                    </a:ext>
                  </a:extLst>
                </a:gridCol>
                <a:gridCol w="877157">
                  <a:extLst>
                    <a:ext uri="{9D8B030D-6E8A-4147-A177-3AD203B41FA5}">
                      <a16:colId xmlns:a16="http://schemas.microsoft.com/office/drawing/2014/main" val="3370277615"/>
                    </a:ext>
                  </a:extLst>
                </a:gridCol>
                <a:gridCol w="877157">
                  <a:extLst>
                    <a:ext uri="{9D8B030D-6E8A-4147-A177-3AD203B41FA5}">
                      <a16:colId xmlns:a16="http://schemas.microsoft.com/office/drawing/2014/main" val="3316465120"/>
                    </a:ext>
                  </a:extLst>
                </a:gridCol>
                <a:gridCol w="877157">
                  <a:extLst>
                    <a:ext uri="{9D8B030D-6E8A-4147-A177-3AD203B41FA5}">
                      <a16:colId xmlns:a16="http://schemas.microsoft.com/office/drawing/2014/main" val="773804938"/>
                    </a:ext>
                  </a:extLst>
                </a:gridCol>
                <a:gridCol w="877157">
                  <a:extLst>
                    <a:ext uri="{9D8B030D-6E8A-4147-A177-3AD203B41FA5}">
                      <a16:colId xmlns:a16="http://schemas.microsoft.com/office/drawing/2014/main" val="3510379597"/>
                    </a:ext>
                  </a:extLst>
                </a:gridCol>
              </a:tblGrid>
              <a:tr h="65025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st I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me taken to perform tes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riab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3288005476"/>
                  </a:ext>
                </a:extLst>
              </a:tr>
              <a:tr h="263884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tegorical Variable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tinuous Variabl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tinuous Variabl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nary Variab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494807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1627639833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0.8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0711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0209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7777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3939530029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.5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0497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1750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7777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3526035274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.2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z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9233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376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7777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1802601649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.6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z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47472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818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3333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3334499079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.0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z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018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54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1111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2062645870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.9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485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2346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44444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1229714228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8.7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1327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9642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1111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2868998170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.9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9846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2203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2798312846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.6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6477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4981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1111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102453297"/>
                  </a:ext>
                </a:extLst>
              </a:tr>
              <a:tr h="17534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6.9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5376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9167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00" marR="4500" marT="4500" marB="0" anchor="b"/>
                </a:tc>
                <a:extLst>
                  <a:ext uri="{0D108BD9-81ED-4DB2-BD59-A6C34878D82A}">
                    <a16:rowId xmlns:a16="http://schemas.microsoft.com/office/drawing/2014/main" val="380246385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9F56553-6849-45F8-BCA2-B019F911AF39}"/>
              </a:ext>
            </a:extLst>
          </p:cNvPr>
          <p:cNvSpPr txBox="1"/>
          <p:nvPr/>
        </p:nvSpPr>
        <p:spPr>
          <a:xfrm>
            <a:off x="3808909" y="1570142"/>
            <a:ext cx="60976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0" dirty="0">
                <a:effectLst/>
              </a:rPr>
              <a:t>Training Data: All parts are randomly shuffled</a:t>
            </a:r>
          </a:p>
        </p:txBody>
      </p:sp>
    </p:spTree>
    <p:extLst>
      <p:ext uri="{BB962C8B-B14F-4D97-AF65-F5344CB8AC3E}">
        <p14:creationId xmlns:p14="http://schemas.microsoft.com/office/powerpoint/2010/main" val="1426562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964CED-D8C1-4988-ACD6-65AC55731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Exploration and Time predic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452633-D16B-418D-96F4-A85C5D739C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50557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© Siemens 20XX | Author | Department | YYYY-MM-D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E66A4F-F926-4946-9AFA-394F92E8A5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623FA28-5270-4A82-8544-F23AA13A60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121712"/>
              </p:ext>
            </p:extLst>
          </p:nvPr>
        </p:nvGraphicFramePr>
        <p:xfrm>
          <a:off x="2637262" y="1940408"/>
          <a:ext cx="8633709" cy="350496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233387">
                  <a:extLst>
                    <a:ext uri="{9D8B030D-6E8A-4147-A177-3AD203B41FA5}">
                      <a16:colId xmlns:a16="http://schemas.microsoft.com/office/drawing/2014/main" val="4075049278"/>
                    </a:ext>
                  </a:extLst>
                </a:gridCol>
                <a:gridCol w="1233387">
                  <a:extLst>
                    <a:ext uri="{9D8B030D-6E8A-4147-A177-3AD203B41FA5}">
                      <a16:colId xmlns:a16="http://schemas.microsoft.com/office/drawing/2014/main" val="3817354549"/>
                    </a:ext>
                  </a:extLst>
                </a:gridCol>
                <a:gridCol w="1233387">
                  <a:extLst>
                    <a:ext uri="{9D8B030D-6E8A-4147-A177-3AD203B41FA5}">
                      <a16:colId xmlns:a16="http://schemas.microsoft.com/office/drawing/2014/main" val="4038322137"/>
                    </a:ext>
                  </a:extLst>
                </a:gridCol>
                <a:gridCol w="1233387">
                  <a:extLst>
                    <a:ext uri="{9D8B030D-6E8A-4147-A177-3AD203B41FA5}">
                      <a16:colId xmlns:a16="http://schemas.microsoft.com/office/drawing/2014/main" val="4145152713"/>
                    </a:ext>
                  </a:extLst>
                </a:gridCol>
                <a:gridCol w="1233387">
                  <a:extLst>
                    <a:ext uri="{9D8B030D-6E8A-4147-A177-3AD203B41FA5}">
                      <a16:colId xmlns:a16="http://schemas.microsoft.com/office/drawing/2014/main" val="3618057696"/>
                    </a:ext>
                  </a:extLst>
                </a:gridCol>
                <a:gridCol w="1233387">
                  <a:extLst>
                    <a:ext uri="{9D8B030D-6E8A-4147-A177-3AD203B41FA5}">
                      <a16:colId xmlns:a16="http://schemas.microsoft.com/office/drawing/2014/main" val="3113001661"/>
                    </a:ext>
                  </a:extLst>
                </a:gridCol>
                <a:gridCol w="1233387">
                  <a:extLst>
                    <a:ext uri="{9D8B030D-6E8A-4147-A177-3AD203B41FA5}">
                      <a16:colId xmlns:a16="http://schemas.microsoft.com/office/drawing/2014/main" val="3779658386"/>
                    </a:ext>
                  </a:extLst>
                </a:gridCol>
              </a:tblGrid>
              <a:tr h="119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st I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riab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1968050370"/>
                  </a:ext>
                </a:extLst>
              </a:tr>
              <a:tr h="224978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tegorical Variab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tinuous Variabl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nary Variabl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414947559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1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540690442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z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6016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752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6666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1382941487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1802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3106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2222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2442643621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z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6227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968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8888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3810338225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z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8435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448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8888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339486999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7492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5443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555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2009006256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0233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2078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6666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87875427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6992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5242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7777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779446379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4148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2500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555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190890286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6376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6724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2724646796"/>
                  </a:ext>
                </a:extLst>
              </a:tr>
              <a:tr h="11998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6976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2500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8888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00" marR="5000" marT="5000" marB="0" anchor="b"/>
                </a:tc>
                <a:extLst>
                  <a:ext uri="{0D108BD9-81ED-4DB2-BD59-A6C34878D82A}">
                    <a16:rowId xmlns:a16="http://schemas.microsoft.com/office/drawing/2014/main" val="360296776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9495226-1696-4B44-A23A-40E6A14A68D2}"/>
              </a:ext>
            </a:extLst>
          </p:cNvPr>
          <p:cNvSpPr txBox="1"/>
          <p:nvPr/>
        </p:nvSpPr>
        <p:spPr>
          <a:xfrm>
            <a:off x="2618332" y="1438832"/>
            <a:ext cx="60976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0" dirty="0">
                <a:effectLst/>
              </a:rPr>
              <a:t>Test Dat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C6237F-3725-4CCD-B493-528696EF2C4E}"/>
              </a:ext>
            </a:extLst>
          </p:cNvPr>
          <p:cNvSpPr/>
          <p:nvPr/>
        </p:nvSpPr>
        <p:spPr>
          <a:xfrm>
            <a:off x="410399" y="1940407"/>
            <a:ext cx="2044565" cy="41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600" dirty="0"/>
              <a:t>Pattern Recogni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CD75E9-FDE1-429C-B614-2B68E3E5B915}"/>
              </a:ext>
            </a:extLst>
          </p:cNvPr>
          <p:cNvSpPr/>
          <p:nvPr/>
        </p:nvSpPr>
        <p:spPr>
          <a:xfrm>
            <a:off x="410399" y="2522360"/>
            <a:ext cx="2044565" cy="750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600" dirty="0"/>
              <a:t>Machine Learning approach sele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A186EA-C00B-48BB-B88D-AF091A2F4358}"/>
              </a:ext>
            </a:extLst>
          </p:cNvPr>
          <p:cNvSpPr/>
          <p:nvPr/>
        </p:nvSpPr>
        <p:spPr>
          <a:xfrm>
            <a:off x="410398" y="3418575"/>
            <a:ext cx="2044565" cy="750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600" dirty="0"/>
              <a:t>Model comparison and Evalu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7A31A0-1FBF-41CD-8DD0-0F2F29EDC9E2}"/>
              </a:ext>
            </a:extLst>
          </p:cNvPr>
          <p:cNvSpPr/>
          <p:nvPr/>
        </p:nvSpPr>
        <p:spPr>
          <a:xfrm>
            <a:off x="410398" y="4287075"/>
            <a:ext cx="2044565" cy="750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600" dirty="0"/>
              <a:t>Model comparison and Evaluation</a:t>
            </a:r>
          </a:p>
        </p:txBody>
      </p:sp>
    </p:spTree>
    <p:extLst>
      <p:ext uri="{BB962C8B-B14F-4D97-AF65-F5344CB8AC3E}">
        <p14:creationId xmlns:p14="http://schemas.microsoft.com/office/powerpoint/2010/main" val="3228816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335581-E017-4772-ADF9-3FE27A1EF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H) EV </a:t>
            </a:r>
            <a:r>
              <a:rPr lang="en-US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owertrain Testing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35123F-23BF-45B6-B449-083AB9BF74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80373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© Siemens 20XX | Author | Department | YYYY-MM-D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E1A415-F25F-4287-84E7-3B9306228A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E458CD-EA33-404F-9557-61458051BD38}"/>
              </a:ext>
            </a:extLst>
          </p:cNvPr>
          <p:cNvSpPr/>
          <p:nvPr/>
        </p:nvSpPr>
        <p:spPr>
          <a:xfrm>
            <a:off x="2504715" y="4717011"/>
            <a:ext cx="954156" cy="4770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dirty="0"/>
              <a:t>M 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70D906-C98A-4FA8-BC38-B93B3CAD63D8}"/>
              </a:ext>
            </a:extLst>
          </p:cNvPr>
          <p:cNvSpPr/>
          <p:nvPr/>
        </p:nvSpPr>
        <p:spPr>
          <a:xfrm>
            <a:off x="3824705" y="4717011"/>
            <a:ext cx="954156" cy="47708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dirty="0"/>
              <a:t>M 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8F1FE2-A061-4C9A-9B9E-18C54D5799EB}"/>
              </a:ext>
            </a:extLst>
          </p:cNvPr>
          <p:cNvSpPr/>
          <p:nvPr/>
        </p:nvSpPr>
        <p:spPr>
          <a:xfrm>
            <a:off x="5129226" y="4717011"/>
            <a:ext cx="954156" cy="4770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dirty="0"/>
              <a:t>M 3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9674B1-45C1-4FE8-9FAD-E9AB42E0D20D}"/>
              </a:ext>
            </a:extLst>
          </p:cNvPr>
          <p:cNvSpPr/>
          <p:nvPr/>
        </p:nvSpPr>
        <p:spPr>
          <a:xfrm>
            <a:off x="6364858" y="4717011"/>
            <a:ext cx="954156" cy="477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dirty="0"/>
              <a:t>M 4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8C84FF-ED28-41D3-A990-51F504690BC5}"/>
              </a:ext>
            </a:extLst>
          </p:cNvPr>
          <p:cNvSpPr/>
          <p:nvPr/>
        </p:nvSpPr>
        <p:spPr>
          <a:xfrm>
            <a:off x="7690907" y="4717012"/>
            <a:ext cx="954156" cy="4770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dirty="0"/>
              <a:t>M 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E495CF-682F-408E-B025-9110A9678025}"/>
              </a:ext>
            </a:extLst>
          </p:cNvPr>
          <p:cNvSpPr/>
          <p:nvPr/>
        </p:nvSpPr>
        <p:spPr>
          <a:xfrm>
            <a:off x="8995428" y="4717011"/>
            <a:ext cx="954156" cy="477081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dirty="0"/>
              <a:t>M 6</a:t>
            </a: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7667B784-C6BC-484D-8F57-DE57F0D052FB}"/>
              </a:ext>
            </a:extLst>
          </p:cNvPr>
          <p:cNvSpPr/>
          <p:nvPr/>
        </p:nvSpPr>
        <p:spPr>
          <a:xfrm>
            <a:off x="2442541" y="5325573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556929B4-7035-429A-8E44-A2AB370C6F35}"/>
              </a:ext>
            </a:extLst>
          </p:cNvPr>
          <p:cNvSpPr/>
          <p:nvPr/>
        </p:nvSpPr>
        <p:spPr>
          <a:xfrm>
            <a:off x="2827361" y="5325573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7C5D11F8-CEDF-4CB5-BFC1-12C3E5A1F5AB}"/>
              </a:ext>
            </a:extLst>
          </p:cNvPr>
          <p:cNvSpPr/>
          <p:nvPr/>
        </p:nvSpPr>
        <p:spPr>
          <a:xfrm>
            <a:off x="2617236" y="5696608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F1A1DBC7-365E-4399-86E8-84ED894A216D}"/>
              </a:ext>
            </a:extLst>
          </p:cNvPr>
          <p:cNvSpPr/>
          <p:nvPr/>
        </p:nvSpPr>
        <p:spPr>
          <a:xfrm>
            <a:off x="3777697" y="5319823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862E27C2-B929-45CF-A6CD-B0D71B0A3A19}"/>
              </a:ext>
            </a:extLst>
          </p:cNvPr>
          <p:cNvSpPr/>
          <p:nvPr/>
        </p:nvSpPr>
        <p:spPr>
          <a:xfrm>
            <a:off x="4162517" y="5319823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A16575A8-1767-48DC-9C64-B408E9029448}"/>
              </a:ext>
            </a:extLst>
          </p:cNvPr>
          <p:cNvSpPr/>
          <p:nvPr/>
        </p:nvSpPr>
        <p:spPr>
          <a:xfrm>
            <a:off x="3952392" y="5690858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463F6DDF-2FEB-40D4-B8EF-549307FA7420}"/>
              </a:ext>
            </a:extLst>
          </p:cNvPr>
          <p:cNvSpPr/>
          <p:nvPr/>
        </p:nvSpPr>
        <p:spPr>
          <a:xfrm>
            <a:off x="4337212" y="5690858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DC816294-0EF5-4087-8CAC-7D6BB86F4D92}"/>
              </a:ext>
            </a:extLst>
          </p:cNvPr>
          <p:cNvSpPr/>
          <p:nvPr/>
        </p:nvSpPr>
        <p:spPr>
          <a:xfrm>
            <a:off x="3603001" y="5690858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514E2102-8657-4BA9-9ED3-156043FE99AB}"/>
              </a:ext>
            </a:extLst>
          </p:cNvPr>
          <p:cNvSpPr/>
          <p:nvPr/>
        </p:nvSpPr>
        <p:spPr>
          <a:xfrm>
            <a:off x="5123299" y="5359389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CCC702A2-E409-4A92-8F06-F69876C31B69}"/>
              </a:ext>
            </a:extLst>
          </p:cNvPr>
          <p:cNvSpPr/>
          <p:nvPr/>
        </p:nvSpPr>
        <p:spPr>
          <a:xfrm>
            <a:off x="5497673" y="5359389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6DEB3B95-0EF1-4527-8C7F-81D6E356E50D}"/>
              </a:ext>
            </a:extLst>
          </p:cNvPr>
          <p:cNvSpPr/>
          <p:nvPr/>
        </p:nvSpPr>
        <p:spPr>
          <a:xfrm>
            <a:off x="6421385" y="5336826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59D16B6A-DDEB-43AF-9218-7220D0B149AB}"/>
              </a:ext>
            </a:extLst>
          </p:cNvPr>
          <p:cNvSpPr/>
          <p:nvPr/>
        </p:nvSpPr>
        <p:spPr>
          <a:xfrm>
            <a:off x="6806205" y="5336826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3E904F7B-8C6C-409D-B11B-9C05443144A9}"/>
              </a:ext>
            </a:extLst>
          </p:cNvPr>
          <p:cNvSpPr/>
          <p:nvPr/>
        </p:nvSpPr>
        <p:spPr>
          <a:xfrm>
            <a:off x="6832829" y="5707861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A0324201-A27B-4BE1-9C18-8368095385E4}"/>
              </a:ext>
            </a:extLst>
          </p:cNvPr>
          <p:cNvSpPr/>
          <p:nvPr/>
        </p:nvSpPr>
        <p:spPr>
          <a:xfrm>
            <a:off x="6421385" y="5707861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10E0CC6E-C1DE-4639-8B95-79B78260A273}"/>
              </a:ext>
            </a:extLst>
          </p:cNvPr>
          <p:cNvSpPr/>
          <p:nvPr/>
        </p:nvSpPr>
        <p:spPr>
          <a:xfrm>
            <a:off x="7755976" y="5319698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6506823F-3F0E-485D-9C92-C6F1A90BE236}"/>
              </a:ext>
            </a:extLst>
          </p:cNvPr>
          <p:cNvSpPr/>
          <p:nvPr/>
        </p:nvSpPr>
        <p:spPr>
          <a:xfrm>
            <a:off x="8140796" y="5319698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6A2C003A-E01C-4495-8423-8BDC939193B9}"/>
              </a:ext>
            </a:extLst>
          </p:cNvPr>
          <p:cNvSpPr/>
          <p:nvPr/>
        </p:nvSpPr>
        <p:spPr>
          <a:xfrm>
            <a:off x="7930671" y="5690733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C62767B5-6A9B-4CB4-9EF4-93DD8B6903F9}"/>
              </a:ext>
            </a:extLst>
          </p:cNvPr>
          <p:cNvSpPr/>
          <p:nvPr/>
        </p:nvSpPr>
        <p:spPr>
          <a:xfrm>
            <a:off x="8315491" y="5690733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62F2C8CA-F231-4CB6-ACBC-8ED22DBFF120}"/>
              </a:ext>
            </a:extLst>
          </p:cNvPr>
          <p:cNvSpPr/>
          <p:nvPr/>
        </p:nvSpPr>
        <p:spPr>
          <a:xfrm>
            <a:off x="7581280" y="5690733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B564B40F-A15F-49B8-9B11-B7342ADD39AD}"/>
              </a:ext>
            </a:extLst>
          </p:cNvPr>
          <p:cNvSpPr/>
          <p:nvPr/>
        </p:nvSpPr>
        <p:spPr>
          <a:xfrm>
            <a:off x="9064507" y="5336701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FE7F4680-EB6F-4DCF-A092-032A5E918634}"/>
              </a:ext>
            </a:extLst>
          </p:cNvPr>
          <p:cNvSpPr/>
          <p:nvPr/>
        </p:nvSpPr>
        <p:spPr>
          <a:xfrm>
            <a:off x="9449327" y="5336701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AE653447-BC5B-48A8-8F83-61EE195BD6FA}"/>
              </a:ext>
            </a:extLst>
          </p:cNvPr>
          <p:cNvSpPr/>
          <p:nvPr/>
        </p:nvSpPr>
        <p:spPr>
          <a:xfrm>
            <a:off x="9239202" y="5707736"/>
            <a:ext cx="349391" cy="28596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3C6E96B-82BC-4B9C-BD42-9D02C87F1ABC}"/>
              </a:ext>
            </a:extLst>
          </p:cNvPr>
          <p:cNvSpPr txBox="1"/>
          <p:nvPr/>
        </p:nvSpPr>
        <p:spPr>
          <a:xfrm>
            <a:off x="291130" y="1220096"/>
            <a:ext cx="10966327" cy="17848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fontAlgn="base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ach test ID is divided into categories (A1 – A6) which resemble a component in powertrain machinery. For successful testing of the powertrain machinery, test IDs from these categories should be tested on specific machines in a specific order of component categories. </a:t>
            </a:r>
          </a:p>
          <a:p>
            <a:pPr marR="0" lvl="0" fontAlgn="base">
              <a:spcBef>
                <a:spcPts val="790"/>
              </a:spcBef>
              <a:spcAft>
                <a:spcPts val="790"/>
              </a:spcAft>
            </a:pP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	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113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1241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7623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8091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1466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4211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457200" marR="0" indent="457200" fontAlgn="base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</a:pPr>
            <a:endParaRPr lang="en-US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3" name="Table 53">
            <a:extLst>
              <a:ext uri="{FF2B5EF4-FFF2-40B4-BE49-F238E27FC236}">
                <a16:creationId xmlns:a16="http://schemas.microsoft.com/office/drawing/2014/main" id="{B1EF0ACC-C783-47B2-991C-75E0AFC884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7536322"/>
              </p:ext>
            </p:extLst>
          </p:nvPr>
        </p:nvGraphicFramePr>
        <p:xfrm>
          <a:off x="1151418" y="2567251"/>
          <a:ext cx="8872836" cy="186251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67548">
                  <a:extLst>
                    <a:ext uri="{9D8B030D-6E8A-4147-A177-3AD203B41FA5}">
                      <a16:colId xmlns:a16="http://schemas.microsoft.com/office/drawing/2014/main" val="1633105822"/>
                    </a:ext>
                  </a:extLst>
                </a:gridCol>
                <a:gridCol w="1267548">
                  <a:extLst>
                    <a:ext uri="{9D8B030D-6E8A-4147-A177-3AD203B41FA5}">
                      <a16:colId xmlns:a16="http://schemas.microsoft.com/office/drawing/2014/main" val="196623633"/>
                    </a:ext>
                  </a:extLst>
                </a:gridCol>
                <a:gridCol w="1267548">
                  <a:extLst>
                    <a:ext uri="{9D8B030D-6E8A-4147-A177-3AD203B41FA5}">
                      <a16:colId xmlns:a16="http://schemas.microsoft.com/office/drawing/2014/main" val="3638864673"/>
                    </a:ext>
                  </a:extLst>
                </a:gridCol>
                <a:gridCol w="1267548">
                  <a:extLst>
                    <a:ext uri="{9D8B030D-6E8A-4147-A177-3AD203B41FA5}">
                      <a16:colId xmlns:a16="http://schemas.microsoft.com/office/drawing/2014/main" val="2228628905"/>
                    </a:ext>
                  </a:extLst>
                </a:gridCol>
                <a:gridCol w="1267548">
                  <a:extLst>
                    <a:ext uri="{9D8B030D-6E8A-4147-A177-3AD203B41FA5}">
                      <a16:colId xmlns:a16="http://schemas.microsoft.com/office/drawing/2014/main" val="2005504817"/>
                    </a:ext>
                  </a:extLst>
                </a:gridCol>
                <a:gridCol w="1267548">
                  <a:extLst>
                    <a:ext uri="{9D8B030D-6E8A-4147-A177-3AD203B41FA5}">
                      <a16:colId xmlns:a16="http://schemas.microsoft.com/office/drawing/2014/main" val="3687843891"/>
                    </a:ext>
                  </a:extLst>
                </a:gridCol>
                <a:gridCol w="1267548">
                  <a:extLst>
                    <a:ext uri="{9D8B030D-6E8A-4147-A177-3AD203B41FA5}">
                      <a16:colId xmlns:a16="http://schemas.microsoft.com/office/drawing/2014/main" val="3265663939"/>
                    </a:ext>
                  </a:extLst>
                </a:gridCol>
              </a:tblGrid>
              <a:tr h="310419">
                <a:tc>
                  <a:txBody>
                    <a:bodyPr/>
                    <a:lstStyle/>
                    <a:p>
                      <a:r>
                        <a:rPr lang="en-US" sz="1400" dirty="0"/>
                        <a:t>1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508538"/>
                  </a:ext>
                </a:extLst>
              </a:tr>
              <a:tr h="310419">
                <a:tc>
                  <a:txBody>
                    <a:bodyPr/>
                    <a:lstStyle/>
                    <a:p>
                      <a:r>
                        <a:rPr lang="en-US" sz="1400" dirty="0"/>
                        <a:t>12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7346980"/>
                  </a:ext>
                </a:extLst>
              </a:tr>
              <a:tr h="310419">
                <a:tc>
                  <a:txBody>
                    <a:bodyPr/>
                    <a:lstStyle/>
                    <a:p>
                      <a:r>
                        <a:rPr lang="en-US" sz="1400" dirty="0"/>
                        <a:t>76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5459544"/>
                  </a:ext>
                </a:extLst>
              </a:tr>
              <a:tr h="310419">
                <a:tc>
                  <a:txBody>
                    <a:bodyPr/>
                    <a:lstStyle/>
                    <a:p>
                      <a:r>
                        <a:rPr lang="en-US" sz="1400" dirty="0"/>
                        <a:t>80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8955468"/>
                  </a:ext>
                </a:extLst>
              </a:tr>
              <a:tr h="310419">
                <a:tc>
                  <a:txBody>
                    <a:bodyPr/>
                    <a:lstStyle/>
                    <a:p>
                      <a:r>
                        <a:rPr lang="en-US" sz="1400" dirty="0"/>
                        <a:t>14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7950824"/>
                  </a:ext>
                </a:extLst>
              </a:tr>
              <a:tr h="310419">
                <a:tc>
                  <a:txBody>
                    <a:bodyPr/>
                    <a:lstStyle/>
                    <a:p>
                      <a:r>
                        <a:rPr lang="en-US" sz="1400" dirty="0"/>
                        <a:t>42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3568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2174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D80551-94E3-4FE0-B7A8-49DB537EC8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ning and Scheduling tool outp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C76BA8-7197-4F29-994B-EE1569DB69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50557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© Siemens 20XX | Author | Department | YYYY-MM-D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13FAFD-A66A-4FE1-BC9C-2B61EC9680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CC6CE548-0B47-4884-8FD1-E7A2D77DF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806" y="2892080"/>
            <a:ext cx="6238875" cy="2505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84B1237-19D9-4C32-8706-6F1A6BE3F217}"/>
              </a:ext>
            </a:extLst>
          </p:cNvPr>
          <p:cNvSpPr txBox="1"/>
          <p:nvPr/>
        </p:nvSpPr>
        <p:spPr>
          <a:xfrm>
            <a:off x="3048828" y="3244334"/>
            <a:ext cx="60976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5533E7-CF24-4D58-9F79-EF104DDAEDDE}"/>
              </a:ext>
            </a:extLst>
          </p:cNvPr>
          <p:cNvSpPr/>
          <p:nvPr/>
        </p:nvSpPr>
        <p:spPr>
          <a:xfrm>
            <a:off x="410400" y="3737817"/>
            <a:ext cx="1438742" cy="7715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dirty="0"/>
              <a:t>Test Sequenc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9991EB2-6BF8-4E84-AD16-2BC3B44D6ED9}"/>
              </a:ext>
            </a:extLst>
          </p:cNvPr>
          <p:cNvSpPr/>
          <p:nvPr/>
        </p:nvSpPr>
        <p:spPr>
          <a:xfrm>
            <a:off x="2057053" y="3559793"/>
            <a:ext cx="2634217" cy="1134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392D50-AC76-4CF1-A8F4-19F7B16FE43B}"/>
              </a:ext>
            </a:extLst>
          </p:cNvPr>
          <p:cNvSpPr/>
          <p:nvPr/>
        </p:nvSpPr>
        <p:spPr>
          <a:xfrm>
            <a:off x="2227176" y="3744459"/>
            <a:ext cx="983974" cy="7112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600" dirty="0"/>
              <a:t>Machine Selecto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182257-DEE2-4C06-9A67-DEE0DDBAC0D3}"/>
              </a:ext>
            </a:extLst>
          </p:cNvPr>
          <p:cNvSpPr/>
          <p:nvPr/>
        </p:nvSpPr>
        <p:spPr>
          <a:xfrm>
            <a:off x="3499384" y="3744458"/>
            <a:ext cx="983974" cy="7112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600" dirty="0"/>
              <a:t>Test Planner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53B0D27-DEDB-4A83-B044-BC5D735906E0}"/>
              </a:ext>
            </a:extLst>
          </p:cNvPr>
          <p:cNvCxnSpPr>
            <a:cxnSpLocks/>
            <a:stCxn id="8" idx="3"/>
            <a:endCxn id="11" idx="1"/>
          </p:cNvCxnSpPr>
          <p:nvPr/>
        </p:nvCxnSpPr>
        <p:spPr>
          <a:xfrm>
            <a:off x="1849142" y="4123607"/>
            <a:ext cx="207911" cy="3405"/>
          </a:xfrm>
          <a:prstGeom prst="straightConnector1">
            <a:avLst/>
          </a:prstGeom>
          <a:ln>
            <a:headEnd w="lg" len="lg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E3E0169-512F-47C7-8CAE-EDE51DB6BD38}"/>
              </a:ext>
            </a:extLst>
          </p:cNvPr>
          <p:cNvCxnSpPr>
            <a:stCxn id="10" idx="3"/>
            <a:endCxn id="13" idx="1"/>
          </p:cNvCxnSpPr>
          <p:nvPr/>
        </p:nvCxnSpPr>
        <p:spPr>
          <a:xfrm>
            <a:off x="3211150" y="4100076"/>
            <a:ext cx="28823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B480071-9112-4E63-B0D4-54C4BB9C1A13}"/>
              </a:ext>
            </a:extLst>
          </p:cNvPr>
          <p:cNvSpPr txBox="1"/>
          <p:nvPr/>
        </p:nvSpPr>
        <p:spPr>
          <a:xfrm>
            <a:off x="487016" y="1411357"/>
            <a:ext cx="10137913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Test Sequence 1 – Machine used, time for execution, resources used, resources available</a:t>
            </a:r>
          </a:p>
          <a:p>
            <a:r>
              <a:rPr lang="en-US" dirty="0"/>
              <a:t>Test Sequence 2 – Machine used, time for execution, resources used, resources available</a:t>
            </a:r>
          </a:p>
          <a:p>
            <a:endParaRPr lang="en-US" dirty="0"/>
          </a:p>
          <a:p>
            <a:r>
              <a:rPr lang="en-US" dirty="0"/>
              <a:t>All the test sequences should be in the increasing order of start date and total time required</a:t>
            </a:r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9239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0ED04-A344-44FC-BE9A-032C5DD00A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Scheduling Problem – 2 approach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22A0C6-81B3-4485-9886-57614C60C2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© Siemens 20XX | Author | Department | YYYY-MM-D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65CB40-7253-4B41-A678-1FCC3E3502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B891AF-7945-4E3E-A8FF-D70DF41F1A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7160" y="1322973"/>
            <a:ext cx="5483158" cy="4617761"/>
          </a:xfrm>
          <a:prstGeom prst="rect">
            <a:avLst/>
          </a:prstGeom>
        </p:spPr>
      </p:pic>
      <p:sp>
        <p:nvSpPr>
          <p:cNvPr id="6" name="Rectangle 1">
            <a:extLst>
              <a:ext uri="{FF2B5EF4-FFF2-40B4-BE49-F238E27FC236}">
                <a16:creationId xmlns:a16="http://schemas.microsoft.com/office/drawing/2014/main" id="{E78844E4-17D3-4F1C-A24C-B3B872822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115" y="2071753"/>
            <a:ext cx="5006426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 t1: m3 (2) → m1 (1) → m2 (2)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 t2: m2 (1) → m3 (2) → m1 (2)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 t3: m3 (1) → m2 (2) → m1 (1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endParaRPr lang="en-US" altLang="en-US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r>
              <a:rPr lang="en-US" dirty="0">
                <a:solidFill>
                  <a:srgbClr val="444444"/>
                </a:solidFill>
              </a:rPr>
              <a:t>The first schedule shows a naive solution: jobs are processed in a sequence and machines stay idle quite often</a:t>
            </a:r>
          </a:p>
          <a:p>
            <a:endParaRPr lang="en-US" altLang="en-US" dirty="0">
              <a:solidFill>
                <a:srgbClr val="444444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en-US" dirty="0"/>
              <a:t>The second solution is the optimal one, where jobs execute in parallel.</a:t>
            </a:r>
            <a:endParaRPr lang="en-US" altLang="en-US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90A61C-9016-431E-9C75-3A4BC045EE12}"/>
              </a:ext>
            </a:extLst>
          </p:cNvPr>
          <p:cNvSpPr txBox="1"/>
          <p:nvPr/>
        </p:nvSpPr>
        <p:spPr>
          <a:xfrm>
            <a:off x="7633252" y="3255894"/>
            <a:ext cx="1808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r>
              <a:rPr lang="en-US" b="0" i="0" dirty="0">
                <a:solidFill>
                  <a:srgbClr val="444444"/>
                </a:solidFill>
                <a:effectLst/>
              </a:rPr>
              <a:t>First Solution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CF70C6-4765-472A-A0B7-D5B95213EBD9}"/>
              </a:ext>
            </a:extLst>
          </p:cNvPr>
          <p:cNvSpPr txBox="1"/>
          <p:nvPr/>
        </p:nvSpPr>
        <p:spPr>
          <a:xfrm>
            <a:off x="7633251" y="5926261"/>
            <a:ext cx="20077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r>
              <a:rPr lang="en-US" b="0" i="0" dirty="0">
                <a:solidFill>
                  <a:srgbClr val="444444"/>
                </a:solidFill>
                <a:effectLst/>
              </a:rPr>
              <a:t>Second Solution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00220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C3663-6198-4006-8F2C-E8EAB8D3B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CFC1B0-E657-44C6-9D8F-00B632E0C1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© Siemens 20XX | Author | Department | YYYY-MM-D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12F1C0-FA83-44A1-9031-42F805AE7B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0A3E41-0C58-4F3D-AF9F-2C45545321A5}"/>
              </a:ext>
            </a:extLst>
          </p:cNvPr>
          <p:cNvSpPr txBox="1"/>
          <p:nvPr/>
        </p:nvSpPr>
        <p:spPr>
          <a:xfrm>
            <a:off x="774581" y="1589771"/>
            <a:ext cx="4691941" cy="41549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Task 1:</a:t>
            </a:r>
          </a:p>
          <a:p>
            <a:pPr algn="l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Exploration and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Modelling and Approach compari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dict testing time per Test ID using machine learning techniq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rformance Analysis using R2 scor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algn="l"/>
            <a:endParaRPr lang="en-US" dirty="0"/>
          </a:p>
          <a:p>
            <a:pPr algn="l"/>
            <a:endParaRPr lang="en-US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1B504D-945C-4D33-8D04-E17B30E49686}"/>
              </a:ext>
            </a:extLst>
          </p:cNvPr>
          <p:cNvSpPr txBox="1"/>
          <p:nvPr/>
        </p:nvSpPr>
        <p:spPr>
          <a:xfrm>
            <a:off x="6218164" y="1589771"/>
            <a:ext cx="4914676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Task 2:</a:t>
            </a:r>
          </a:p>
          <a:p>
            <a:pPr algn="l"/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Map Machines with Test IDs and testing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e logic to schedule tests on machines with predicted test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nimize the </a:t>
            </a:r>
            <a:r>
              <a:rPr lang="en-US" dirty="0" err="1"/>
              <a:t>makespan</a:t>
            </a:r>
            <a:r>
              <a:rPr lang="en-US" dirty="0"/>
              <a:t>, i.e. minimize the maximum completion time among all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ep count of resources availab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algn="l"/>
            <a:endParaRPr lang="en-US" dirty="0"/>
          </a:p>
          <a:p>
            <a:pPr algn="l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948852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bdbc8e-f81c-4748-99cc-bf771adff04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FE6ED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176213" indent="-176213">
          <a:spcBef>
            <a:spcPts val="300"/>
          </a:spcBef>
          <a:buClr>
            <a:schemeClr val="accent1"/>
          </a:buClr>
          <a:buFont typeface="Arial" panose="020B0604020202020204" pitchFamily="34" charset="0"/>
          <a:buChar char="•"/>
          <a:defRPr sz="1400" dirty="0" err="1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sie-ppt-2010-16x9-standard-eng-v2-1.pptx  -  Schreibgeschützt" id="{182967AB-1BF3-4DBE-828B-88E71BBD688D}" vid="{A64EFA35-5589-4889-8DEB-549EC3214B0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0.xml><?xml version="1.0" encoding="utf-8"?>
<p4ppTags>
  <Name>One object (large)</Name>
  <PpLayout>16</PpLayout>
  <Index>10</Index>
</p4ppTags>
</file>

<file path=customXml/item11.xml><?xml version="1.0" encoding="utf-8"?>
<p4ppTags>
  <Name>One object (small)</Name>
  <PpLayout>16</PpLayout>
  <Index>11</Index>
</p4ppTags>
</file>

<file path=customXml/item12.xml><?xml version="1.0" encoding="utf-8"?>
<p4ppTags>
  <Name>Free Content + Navigation</Name>
  <PpLayout>32</PpLayout>
  <Index>16</Index>
</p4ppTags>
</file>

<file path=customXml/item13.xml><?xml version="1.0" encoding="utf-8"?>
<p4ppTags>
  <Name>Two rows + Navigation</Name>
  <PpLayout>32</PpLayout>
  <Index>21</Index>
</p4ppTags>
</file>

<file path=customXml/item14.xml><?xml version="1.0" encoding="utf-8"?>
<p4ppTags>
  <Name>Text + Index</Name>
  <PpLayout>32</PpLayout>
  <Index>8</Index>
</p4ppTags>
</file>

<file path=customXml/item15.xml><?xml version="1.0" encoding="utf-8"?>
<p4ppTags/>
</file>

<file path=customXml/item16.xml><?xml version="1.0" encoding="utf-8"?>
<p4ppTags>
  <Name>Two columns</Name>
  <PpLayout>29</PpLayout>
  <Index>12</Index>
</p4ppTags>
</file>

<file path=customXml/item17.xml><?xml version="1.0" encoding="utf-8"?>
<p4ppTags>
  <Name>One object (small) + Navigation</Name>
  <PpLayout>32</PpLayout>
  <Index>18</Index>
</p4ppTags>
</file>

<file path=customXml/item18.xml><?xml version="1.0" encoding="utf-8"?>
<p4ppTags>
  <Name>One object (large) + Navigation</Name>
  <PpLayout>32</PpLayout>
  <Index>17</Index>
</p4ppTag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DCABBB665B0040B0D82B7C41326A9C" ma:contentTypeVersion="10" ma:contentTypeDescription="Create a new document." ma:contentTypeScope="" ma:versionID="df7d189291999e92fc5af3002e805aa1">
  <xsd:schema xmlns:xsd="http://www.w3.org/2001/XMLSchema" xmlns:xs="http://www.w3.org/2001/XMLSchema" xmlns:p="http://schemas.microsoft.com/office/2006/metadata/properties" xmlns:ns2="75be0b58-9041-447e-bb14-708258a1f6cd" xmlns:ns3="a978b4f2-9265-43f4-92fc-897ac620886b" targetNamespace="http://schemas.microsoft.com/office/2006/metadata/properties" ma:root="true" ma:fieldsID="8e408f9c5be8aaa1cffbff4b7eed5704" ns2:_="" ns3:_="">
    <xsd:import namespace="75be0b58-9041-447e-bb14-708258a1f6cd"/>
    <xsd:import namespace="a978b4f2-9265-43f4-92fc-897ac62088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be0b58-9041-447e-bb14-708258a1f6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78b4f2-9265-43f4-92fc-897ac620886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4ppTags>
  <Name>Free Content</Name>
  <PpLayout>11</PpLayout>
  <Index>9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Four objects + Navigation</Name>
  <PpLayout>32</PpLayout>
  <Index>22</Index>
</p4ppTags>
</file>

<file path=customXml/item7.xml><?xml version="1.0" encoding="utf-8"?>
<p4ppTags>
  <Name>Two rows</Name>
  <PpLayout>32</PpLayout>
  <Index>13</Index>
</p4ppTags>
</file>

<file path=customXml/item8.xml><?xml version="1.0" encoding="utf-8"?>
<p4ppTags>
  <Name>Four objects</Name>
  <PpLayout>24</PpLayout>
  <Index>15</Index>
</p4ppTags>
</file>

<file path=customXml/item9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2592C8A2-F6B3-46B1-B822-03B6E9C45A7B}">
  <ds:schemaRefs>
    <ds:schemaRef ds:uri="75be0b58-9041-447e-bb14-708258a1f6cd"/>
    <ds:schemaRef ds:uri="a978b4f2-9265-43f4-92fc-897ac620886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.xml><?xml version="1.0" encoding="utf-8"?>
<ds:datastoreItem xmlns:ds="http://schemas.openxmlformats.org/officeDocument/2006/customXml" ds:itemID="{80661B8B-A327-44F9-823B-4D9EE0B3EC78}">
  <ds:schemaRefs/>
</ds:datastoreItem>
</file>

<file path=customXml/itemProps11.xml><?xml version="1.0" encoding="utf-8"?>
<ds:datastoreItem xmlns:ds="http://schemas.openxmlformats.org/officeDocument/2006/customXml" ds:itemID="{1618AA06-B22E-4D19-9680-0D7830426729}">
  <ds:schemaRefs/>
</ds:datastoreItem>
</file>

<file path=customXml/itemProps12.xml><?xml version="1.0" encoding="utf-8"?>
<ds:datastoreItem xmlns:ds="http://schemas.openxmlformats.org/officeDocument/2006/customXml" ds:itemID="{7CC5F709-E74B-4E5F-A728-923D5062EBEF}">
  <ds:schemaRefs/>
</ds:datastoreItem>
</file>

<file path=customXml/itemProps13.xml><?xml version="1.0" encoding="utf-8"?>
<ds:datastoreItem xmlns:ds="http://schemas.openxmlformats.org/officeDocument/2006/customXml" ds:itemID="{6C79E4F8-DCFB-483C-880A-AEEC6AAFC838}">
  <ds:schemaRefs/>
</ds:datastoreItem>
</file>

<file path=customXml/itemProps14.xml><?xml version="1.0" encoding="utf-8"?>
<ds:datastoreItem xmlns:ds="http://schemas.openxmlformats.org/officeDocument/2006/customXml" ds:itemID="{7E35FEDB-1F0E-4D67-A313-4AC59C26FF29}">
  <ds:schemaRefs/>
</ds:datastoreItem>
</file>

<file path=customXml/itemProps15.xml><?xml version="1.0" encoding="utf-8"?>
<ds:datastoreItem xmlns:ds="http://schemas.openxmlformats.org/officeDocument/2006/customXml" ds:itemID="{572FBA73-6DBF-45DA-8282-9342320CFAB0}">
  <ds:schemaRefs/>
</ds:datastoreItem>
</file>

<file path=customXml/itemProps16.xml><?xml version="1.0" encoding="utf-8"?>
<ds:datastoreItem xmlns:ds="http://schemas.openxmlformats.org/officeDocument/2006/customXml" ds:itemID="{1666F4C2-68F5-4840-A44A-1A646C0925A1}">
  <ds:schemaRefs/>
</ds:datastoreItem>
</file>

<file path=customXml/itemProps17.xml><?xml version="1.0" encoding="utf-8"?>
<ds:datastoreItem xmlns:ds="http://schemas.openxmlformats.org/officeDocument/2006/customXml" ds:itemID="{D9FE249F-833E-4CF0-BECB-552D01D7DC9E}">
  <ds:schemaRefs/>
</ds:datastoreItem>
</file>

<file path=customXml/itemProps18.xml><?xml version="1.0" encoding="utf-8"?>
<ds:datastoreItem xmlns:ds="http://schemas.openxmlformats.org/officeDocument/2006/customXml" ds:itemID="{B27F640E-84DF-4F97-BC70-D045F1E6594F}">
  <ds:schemaRefs/>
</ds:datastoreItem>
</file>

<file path=customXml/itemProps2.xml><?xml version="1.0" encoding="utf-8"?>
<ds:datastoreItem xmlns:ds="http://schemas.openxmlformats.org/officeDocument/2006/customXml" ds:itemID="{A27761CF-6DB9-46FF-8DE4-7485776BCF95}">
  <ds:schemaRefs>
    <ds:schemaRef ds:uri="75be0b58-9041-447e-bb14-708258a1f6cd"/>
    <ds:schemaRef ds:uri="a978b4f2-9265-43f4-92fc-897ac620886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2C2525B-9C53-4C85-BCB5-6CDEBC335DB1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8097D0C-BE3E-4AEC-9593-65CFCCB19297}">
  <ds:schemaRefs/>
</ds:datastoreItem>
</file>

<file path=customXml/itemProps5.xml><?xml version="1.0" encoding="utf-8"?>
<ds:datastoreItem xmlns:ds="http://schemas.openxmlformats.org/officeDocument/2006/customXml" ds:itemID="{C62D2B2E-8D07-4300-BF96-4F3733D56782}">
  <ds:schemaRefs/>
</ds:datastoreItem>
</file>

<file path=customXml/itemProps6.xml><?xml version="1.0" encoding="utf-8"?>
<ds:datastoreItem xmlns:ds="http://schemas.openxmlformats.org/officeDocument/2006/customXml" ds:itemID="{EAB520BC-C6EC-457E-8AB5-55DB67C86858}">
  <ds:schemaRefs/>
</ds:datastoreItem>
</file>

<file path=customXml/itemProps7.xml><?xml version="1.0" encoding="utf-8"?>
<ds:datastoreItem xmlns:ds="http://schemas.openxmlformats.org/officeDocument/2006/customXml" ds:itemID="{38AB8DE4-FD9B-4166-BEC3-3F1753596133}">
  <ds:schemaRefs/>
</ds:datastoreItem>
</file>

<file path=customXml/itemProps8.xml><?xml version="1.0" encoding="utf-8"?>
<ds:datastoreItem xmlns:ds="http://schemas.openxmlformats.org/officeDocument/2006/customXml" ds:itemID="{1581BFFB-B4CE-47A8-BE77-DC1339B1E5A7}">
  <ds:schemaRefs/>
</ds:datastoreItem>
</file>

<file path=customXml/itemProps9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32</TotalTime>
  <Words>772</Words>
  <Application>Microsoft Office PowerPoint</Application>
  <PresentationFormat>Widescreen</PresentationFormat>
  <Paragraphs>337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Times New Roman</vt:lpstr>
      <vt:lpstr>Wingdings</vt:lpstr>
      <vt:lpstr>Siemens 2020</vt:lpstr>
      <vt:lpstr>Siemens 2017 – 16:9</vt:lpstr>
      <vt:lpstr>think-cell Folie</vt:lpstr>
      <vt:lpstr>Automated Testing in Production Planning in Test based Engineering</vt:lpstr>
      <vt:lpstr>(H) EV Powertrain Component categories </vt:lpstr>
      <vt:lpstr>Test IDs and time taken to perform tests (* All the data is anonymous)</vt:lpstr>
      <vt:lpstr>Data Exploration and Time prediction</vt:lpstr>
      <vt:lpstr>(H) EV Powertrain Testing</vt:lpstr>
      <vt:lpstr>Test Planning and Scheduling tool output</vt:lpstr>
      <vt:lpstr> Scheduling Problem – 2 approaches</vt:lpstr>
      <vt:lpstr>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AG PowerPoint Presentation</dc:title>
  <dc:creator>Friedrich, Hermann (T RDA FOA)</dc:creator>
  <cp:keywords>Template</cp:keywords>
  <dc:description>Version 3.0.8
September 2020</dc:description>
  <cp:lastModifiedBy>Deshpande, Mayuri (T RDA FOA PAE-US)</cp:lastModifiedBy>
  <cp:revision>1</cp:revision>
  <dcterms:created xsi:type="dcterms:W3CDTF">2020-07-27T12:43:17Z</dcterms:created>
  <dcterms:modified xsi:type="dcterms:W3CDTF">2021-08-13T05:1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DCABBB665B0040B0D82B7C41326A9C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1-02-18T14:56:07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e9d7d035-6bef-4ddd-bc1f-9bbcf259e0cd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</Properties>
</file>